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Override1.xml" ContentType="application/vnd.openxmlformats-officedocument.themeOverride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5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50"/>
  </p:notesMasterIdLst>
  <p:sldIdLst>
    <p:sldId id="275" r:id="rId2"/>
    <p:sldId id="330" r:id="rId3"/>
    <p:sldId id="354" r:id="rId4"/>
    <p:sldId id="355" r:id="rId5"/>
    <p:sldId id="296" r:id="rId6"/>
    <p:sldId id="356" r:id="rId7"/>
    <p:sldId id="352" r:id="rId8"/>
    <p:sldId id="322" r:id="rId9"/>
    <p:sldId id="324" r:id="rId10"/>
    <p:sldId id="314" r:id="rId11"/>
    <p:sldId id="319" r:id="rId12"/>
    <p:sldId id="318" r:id="rId13"/>
    <p:sldId id="320" r:id="rId14"/>
    <p:sldId id="340" r:id="rId15"/>
    <p:sldId id="346" r:id="rId16"/>
    <p:sldId id="344" r:id="rId17"/>
    <p:sldId id="362" r:id="rId18"/>
    <p:sldId id="328" r:id="rId19"/>
    <p:sldId id="347" r:id="rId20"/>
    <p:sldId id="341" r:id="rId21"/>
    <p:sldId id="329" r:id="rId22"/>
    <p:sldId id="359" r:id="rId23"/>
    <p:sldId id="360" r:id="rId24"/>
    <p:sldId id="353" r:id="rId25"/>
    <p:sldId id="269" r:id="rId26"/>
    <p:sldId id="285" r:id="rId27"/>
    <p:sldId id="289" r:id="rId28"/>
    <p:sldId id="372" r:id="rId29"/>
    <p:sldId id="268" r:id="rId30"/>
    <p:sldId id="283" r:id="rId31"/>
    <p:sldId id="287" r:id="rId32"/>
    <p:sldId id="286" r:id="rId33"/>
    <p:sldId id="373" r:id="rId34"/>
    <p:sldId id="277" r:id="rId35"/>
    <p:sldId id="276" r:id="rId36"/>
    <p:sldId id="279" r:id="rId37"/>
    <p:sldId id="331" r:id="rId38"/>
    <p:sldId id="278" r:id="rId39"/>
    <p:sldId id="288" r:id="rId40"/>
    <p:sldId id="265" r:id="rId41"/>
    <p:sldId id="361" r:id="rId42"/>
    <p:sldId id="369" r:id="rId43"/>
    <p:sldId id="371" r:id="rId44"/>
    <p:sldId id="364" r:id="rId45"/>
    <p:sldId id="365" r:id="rId46"/>
    <p:sldId id="366" r:id="rId47"/>
    <p:sldId id="290" r:id="rId48"/>
    <p:sldId id="367" r:id="rId49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5553B"/>
    <a:srgbClr val="E42222"/>
    <a:srgbClr val="D7451D"/>
    <a:srgbClr val="60609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1103" autoAdjust="0"/>
  </p:normalViewPr>
  <p:slideViewPr>
    <p:cSldViewPr>
      <p:cViewPr>
        <p:scale>
          <a:sx n="40" d="100"/>
          <a:sy n="40" d="100"/>
        </p:scale>
        <p:origin x="-1386" y="-10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8323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8" Type="http://schemas.openxmlformats.org/officeDocument/2006/relationships/slide" Target="slides/slide7.xml"/><Relationship Id="rId51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Macintosh%20HD:Users:Scott:Documents:3_WCS:Rhinos:SA%20Rhino%20poaching%20graph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AU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1"/>
    <c:plotArea>
      <c:layout>
        <c:manualLayout>
          <c:layoutTarget val="inner"/>
          <c:xMode val="edge"/>
          <c:yMode val="edge"/>
          <c:x val="7.4137024317919728E-2"/>
          <c:y val="5.4792076771653542E-2"/>
          <c:w val="0.92347203366820529"/>
          <c:h val="0.89299007545931763"/>
        </c:manualLayout>
      </c:layout>
      <c:barChart>
        <c:barDir val="col"/>
        <c:grouping val="clustered"/>
        <c:varyColors val="0"/>
        <c:ser>
          <c:idx val="0"/>
          <c:order val="1"/>
          <c:tx>
            <c:strRef>
              <c:f>Sheet1!$B$1</c:f>
              <c:strCache>
                <c:ptCount val="1"/>
                <c:pt idx="0">
                  <c:v>No. Rhino killed</c:v>
                </c:pt>
              </c:strCache>
            </c:strRef>
          </c:tx>
          <c:spPr>
            <a:solidFill>
              <a:schemeClr val="accent6">
                <a:lumMod val="75000"/>
              </a:schemeClr>
            </a:solidFill>
          </c:spPr>
          <c:invertIfNegative val="0"/>
          <c:cat>
            <c:numRef>
              <c:f>Sheet1!$A$2:$A$9</c:f>
              <c:numCache>
                <c:formatCode>General</c:formatCode>
                <c:ptCount val="8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</c:numCache>
            </c:numRef>
          </c:cat>
          <c:val>
            <c:numRef>
              <c:f>Sheet1!$B$2:$B$9</c:f>
              <c:numCache>
                <c:formatCode>General</c:formatCode>
                <c:ptCount val="8"/>
                <c:pt idx="0">
                  <c:v>13</c:v>
                </c:pt>
                <c:pt idx="1">
                  <c:v>83</c:v>
                </c:pt>
                <c:pt idx="2">
                  <c:v>122</c:v>
                </c:pt>
                <c:pt idx="3">
                  <c:v>333</c:v>
                </c:pt>
                <c:pt idx="4">
                  <c:v>448</c:v>
                </c:pt>
                <c:pt idx="5">
                  <c:v>668</c:v>
                </c:pt>
                <c:pt idx="6">
                  <c:v>1004</c:v>
                </c:pt>
                <c:pt idx="7">
                  <c:v>1215</c:v>
                </c:pt>
              </c:numCache>
            </c:numRef>
          </c:val>
        </c:ser>
        <c:ser>
          <c:idx val="1"/>
          <c:order val="0"/>
          <c:tx>
            <c:strRef>
              <c:f>Sheet1!$B$1</c:f>
              <c:strCache>
                <c:ptCount val="1"/>
                <c:pt idx="0">
                  <c:v>No. Rhino killed</c:v>
                </c:pt>
              </c:strCache>
            </c:strRef>
          </c:tx>
          <c:spPr>
            <a:solidFill>
              <a:schemeClr val="accent6">
                <a:lumMod val="75000"/>
              </a:schemeClr>
            </a:solidFill>
          </c:spPr>
          <c:invertIfNegative val="0"/>
          <c:dLbls>
            <c:dLbl>
              <c:idx val="0"/>
              <c:layout/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1.6764242478003233E-2"/>
                  <c:y val="5.294152501573899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1.5087818230202882E-2"/>
                  <c:y val="6.3704588379069171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1.5087818230202882E-2"/>
                  <c:y val="6.3704588379068991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1.5087818230202882E-2"/>
                  <c:y val="5.9001407251046183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-1.5087818230202882E-2"/>
                  <c:y val="6.8407769507091723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-1.1734969734602241E-2"/>
                  <c:y val="6.6056178943080357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layout>
                <c:manualLayout>
                  <c:x val="-1.5087818230202882E-2"/>
                  <c:y val="5.6649816687034775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 algn="l">
                  <a:defRPr/>
                </a:pPr>
                <a:endParaRPr lang="en-US"/>
              </a:p>
            </c:txPr>
            <c:dLblPos val="inEnd"/>
            <c:showLegendKey val="0"/>
            <c:showVal val="0"/>
            <c:showCatName val="0"/>
            <c:showSerName val="0"/>
            <c:showPercent val="0"/>
            <c:showBubbleSize val="0"/>
          </c:dLbls>
          <c:cat>
            <c:numRef>
              <c:f>Sheet1!$A$2:$A$9</c:f>
              <c:numCache>
                <c:formatCode>General</c:formatCode>
                <c:ptCount val="8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</c:numCache>
            </c:numRef>
          </c:cat>
          <c:val>
            <c:numRef>
              <c:f>Sheet1!$B$2:$B$9</c:f>
              <c:numCache>
                <c:formatCode>General</c:formatCode>
                <c:ptCount val="8"/>
                <c:pt idx="0">
                  <c:v>13</c:v>
                </c:pt>
                <c:pt idx="1">
                  <c:v>83</c:v>
                </c:pt>
                <c:pt idx="2">
                  <c:v>122</c:v>
                </c:pt>
                <c:pt idx="3">
                  <c:v>333</c:v>
                </c:pt>
                <c:pt idx="4">
                  <c:v>448</c:v>
                </c:pt>
                <c:pt idx="5">
                  <c:v>668</c:v>
                </c:pt>
                <c:pt idx="6">
                  <c:v>1004</c:v>
                </c:pt>
                <c:pt idx="7">
                  <c:v>121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27681664"/>
        <c:axId val="127683584"/>
      </c:barChart>
      <c:catAx>
        <c:axId val="1276816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127683584"/>
        <c:crosses val="autoZero"/>
        <c:auto val="1"/>
        <c:lblAlgn val="ctr"/>
        <c:lblOffset val="100"/>
        <c:noMultiLvlLbl val="0"/>
      </c:catAx>
      <c:valAx>
        <c:axId val="127683584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crossAx val="1276816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400" b="1">
          <a:solidFill>
            <a:schemeClr val="tx1"/>
          </a:solidFill>
        </a:defRPr>
      </a:pPr>
      <a:endParaRPr lang="en-US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4568D9A-CB6C-4837-BAAC-37B1948D50D6}" type="datetimeFigureOut">
              <a:rPr lang="en-GB" smtClean="0"/>
              <a:t>09/03/2016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18BE37A-A049-41D6-84BE-AACEE3DD0D16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490424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Thanks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8BE37A-A049-41D6-84BE-AACEE3DD0D16}" type="slidenum">
              <a:rPr lang="en-GB" smtClean="0"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62572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Mirror global trends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8BE37A-A049-41D6-84BE-AACEE3DD0D16}" type="slidenum">
              <a:rPr lang="en-GB" smtClean="0"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16415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 smtClean="0"/>
              <a:t>And Growing middle class in Africa and Asia are driving home-grown demand.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8BE37A-A049-41D6-84BE-AACEE3DD0D16}" type="slidenum">
              <a:rPr lang="en-GB" smtClean="0"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0826777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Slide Image Placeholder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32771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0"/>
              </a:spcBef>
            </a:pPr>
            <a:r>
              <a:rPr lang="en-GB" altLang="en-US" b="1" smtClean="0">
                <a:latin typeface="Arial" charset="0"/>
                <a:ea typeface="ＭＳ Ｐゴシック" pitchFamily="-112" charset="-128"/>
              </a:rPr>
              <a:t>Illegal cross-border trade in wildlife from Vietnam to China highlighting on routes wildlife moves from the forest to the markets in China</a:t>
            </a:r>
          </a:p>
          <a:p>
            <a:pPr>
              <a:spcBef>
                <a:spcPct val="0"/>
              </a:spcBef>
            </a:pPr>
            <a:endParaRPr lang="en-GB" altLang="en-US" b="1" smtClean="0">
              <a:latin typeface="Arial" charset="0"/>
              <a:ea typeface="ＭＳ Ｐゴシック" pitchFamily="-112" charset="-128"/>
            </a:endParaRPr>
          </a:p>
        </p:txBody>
      </p:sp>
      <p:sp>
        <p:nvSpPr>
          <p:cNvPr id="3277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9pPr>
          </a:lstStyle>
          <a:p>
            <a:pPr eaLnBrk="1" hangingPunct="1"/>
            <a:fld id="{A5F8A109-AFA3-4B19-98C7-1CEE5A485A38}" type="slidenum">
              <a:rPr lang="en-GB" altLang="en-US" sz="1200">
                <a:latin typeface="Arial" charset="0"/>
              </a:rPr>
              <a:pPr eaLnBrk="1" hangingPunct="1"/>
              <a:t>20</a:t>
            </a:fld>
            <a:endParaRPr lang="en-GB" altLang="en-US" sz="1200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8BE37A-A049-41D6-84BE-AACEE3DD0D16}" type="slidenum">
              <a:rPr lang="en-GB" smtClean="0"/>
              <a:t>3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098603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ltGray">
          <a:xfrm>
            <a:off x="-2" y="4754880"/>
            <a:ext cx="9144002" cy="2103120"/>
          </a:xfrm>
          <a:prstGeom prst="rect">
            <a:avLst/>
          </a:prstGeom>
          <a:gradFill flip="none" rotWithShape="1">
            <a:gsLst>
              <a:gs pos="100000">
                <a:schemeClr val="tx2">
                  <a:lumMod val="75000"/>
                </a:schemeClr>
              </a:gs>
              <a:gs pos="0">
                <a:schemeClr val="tx2"/>
              </a:gs>
            </a:gsLst>
            <a:path path="circle">
              <a:fillToRect l="50000" t="50000" r="50000" b="50000"/>
            </a:path>
            <a:tileRect/>
          </a:gra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kern="0" dirty="0">
              <a:solidFill>
                <a:prstClr val="white"/>
              </a:solidFill>
              <a:latin typeface="Euphemia"/>
              <a:ea typeface="ＭＳ Ｐゴシック" charset="0"/>
            </a:endParaRPr>
          </a:p>
        </p:txBody>
      </p:sp>
      <p:sp>
        <p:nvSpPr>
          <p:cNvPr id="6" name="Rectangle 5"/>
          <p:cNvSpPr/>
          <p:nvPr/>
        </p:nvSpPr>
        <p:spPr bwMode="white">
          <a:xfrm>
            <a:off x="0" y="4724400"/>
            <a:ext cx="9140825" cy="762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2999" y="4800600"/>
            <a:ext cx="6858002" cy="1143000"/>
          </a:xfrm>
        </p:spPr>
        <p:txBody>
          <a:bodyPr>
            <a:normAutofit/>
          </a:bodyPr>
          <a:lstStyle>
            <a:lvl1pPr algn="ctr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1810" y="5943600"/>
            <a:ext cx="6858002" cy="762000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000" cap="none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8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 smtClean="0"/>
              <a:t>Click to edit Master sub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425756678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0309" y="2362201"/>
            <a:ext cx="2400300" cy="1990725"/>
          </a:xfrm>
        </p:spPr>
        <p:txBody>
          <a:bodyPr>
            <a:normAutofit/>
          </a:bodyPr>
          <a:lstStyle>
            <a:lvl1pPr>
              <a:defRPr sz="3400" b="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70659" y="685800"/>
            <a:ext cx="5429251" cy="54864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70309" y="4367308"/>
            <a:ext cx="2400300" cy="1622012"/>
          </a:xfrm>
        </p:spPr>
        <p:txBody>
          <a:bodyPr>
            <a:normAutofit/>
          </a:bodyPr>
          <a:lstStyle>
            <a:lvl1pPr marL="0" indent="0">
              <a:spcBef>
                <a:spcPts val="1200"/>
              </a:spcBef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3BF08C5-26A8-E046-A808-315C2DBC1409}" type="datetimeFigureOut">
              <a:rPr lang="en-US">
                <a:solidFill>
                  <a:srgbClr val="E5E8E8"/>
                </a:solidFill>
              </a:rPr>
              <a:pPr>
                <a:defRPr/>
              </a:pPr>
              <a:t>3/9/2016</a:t>
            </a:fld>
            <a:endParaRPr lang="en-US" dirty="0">
              <a:solidFill>
                <a:srgbClr val="E5E8E8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dirty="0">
              <a:solidFill>
                <a:srgbClr val="E5E8E8"/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10CDB1B-91DD-B14B-99CC-D8E257BE9570}" type="slidenum">
              <a:rPr lang="en-US">
                <a:solidFill>
                  <a:srgbClr val="E5E8E8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E5E8E8"/>
              </a:solidFill>
            </a:endParaRPr>
          </a:p>
        </p:txBody>
      </p:sp>
      <p:pic>
        <p:nvPicPr>
          <p:cNvPr id="8" name="Picture 2" descr="D:\DATA\Logo\logo wcs all\WCS-LOGO TRANSPARENT.gif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7744" y="5589240"/>
            <a:ext cx="977280" cy="97728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827884686"/>
      </p:ext>
    </p:extLst>
  </p:cSld>
  <p:clrMapOvr>
    <a:masterClrMapping/>
  </p:clrMapOvr>
  <p:transition spd="med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Alternate 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ltGray">
          <a:xfrm>
            <a:off x="0" y="0"/>
            <a:ext cx="3655314" cy="6858000"/>
          </a:xfrm>
          <a:prstGeom prst="rect">
            <a:avLst/>
          </a:prstGeom>
          <a:gradFill flip="none" rotWithShape="1">
            <a:gsLst>
              <a:gs pos="100000">
                <a:schemeClr val="tx2">
                  <a:lumMod val="75000"/>
                </a:schemeClr>
              </a:gs>
              <a:gs pos="0">
                <a:schemeClr val="tx2"/>
              </a:gs>
            </a:gsLst>
            <a:path path="circle">
              <a:fillToRect l="50000" t="50000" r="50000" b="50000"/>
            </a:path>
            <a:tileRect/>
          </a:gra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kern="0" dirty="0">
              <a:solidFill>
                <a:prstClr val="white"/>
              </a:solidFill>
              <a:latin typeface="Euphemia"/>
              <a:ea typeface="ＭＳ Ｐゴシック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0309" y="2362201"/>
            <a:ext cx="2400300" cy="1990725"/>
          </a:xfrm>
        </p:spPr>
        <p:txBody>
          <a:bodyPr>
            <a:normAutofit/>
          </a:bodyPr>
          <a:lstStyle>
            <a:lvl1pPr>
              <a:defRPr sz="3400" b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2169" y="685800"/>
            <a:ext cx="4777740" cy="54864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70309" y="4367308"/>
            <a:ext cx="2400300" cy="1622012"/>
          </a:xfrm>
        </p:spPr>
        <p:txBody>
          <a:bodyPr>
            <a:normAutofit/>
          </a:bodyPr>
          <a:lstStyle>
            <a:lvl1pPr marL="0" indent="0">
              <a:spcBef>
                <a:spcPts val="1200"/>
              </a:spcBef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38C6795-E884-F043-B284-503CA70CB963}" type="datetimeFigureOut">
              <a:rPr lang="en-US">
                <a:solidFill>
                  <a:srgbClr val="263050"/>
                </a:solidFill>
              </a:rPr>
              <a:pPr>
                <a:defRPr/>
              </a:pPr>
              <a:t>3/9/2016</a:t>
            </a:fld>
            <a:endParaRPr lang="en-US" dirty="0">
              <a:solidFill>
                <a:srgbClr val="263050"/>
              </a:solidFill>
            </a:endParaRPr>
          </a:p>
        </p:txBody>
      </p:sp>
      <p:sp>
        <p:nvSpPr>
          <p:cNvPr id="7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dirty="0">
              <a:solidFill>
                <a:srgbClr val="E5E8E8"/>
              </a:solidFill>
            </a:endParaRPr>
          </a:p>
        </p:txBody>
      </p:sp>
      <p:sp>
        <p:nvSpPr>
          <p:cNvPr id="8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E8C5F0EC-BDB1-9546-8FD1-52664169B22D}" type="slidenum">
              <a:rPr lang="en-US">
                <a:solidFill>
                  <a:srgbClr val="26305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263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9690600"/>
      </p:ext>
    </p:extLst>
  </p:cSld>
  <p:clrMapOvr>
    <a:masterClrMapping/>
  </p:clrMapOvr>
  <p:transition spd="med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ltGray">
          <a:xfrm>
            <a:off x="5486400" y="0"/>
            <a:ext cx="3655314" cy="6858000"/>
          </a:xfrm>
          <a:prstGeom prst="rect">
            <a:avLst/>
          </a:prstGeom>
          <a:gradFill flip="none" rotWithShape="1">
            <a:gsLst>
              <a:gs pos="100000">
                <a:schemeClr val="tx2">
                  <a:lumMod val="75000"/>
                </a:schemeClr>
              </a:gs>
              <a:gs pos="0">
                <a:schemeClr val="tx2"/>
              </a:gs>
            </a:gsLst>
            <a:path path="circle">
              <a:fillToRect l="50000" t="50000" r="50000" b="50000"/>
            </a:path>
            <a:tileRect/>
          </a:gra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kern="0" dirty="0">
              <a:solidFill>
                <a:prstClr val="white"/>
              </a:solidFill>
              <a:latin typeface="Euphemia"/>
              <a:ea typeface="ＭＳ Ｐゴシック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42411" y="2362200"/>
            <a:ext cx="2400300" cy="1993392"/>
          </a:xfrm>
        </p:spPr>
        <p:txBody>
          <a:bodyPr>
            <a:normAutofit/>
          </a:bodyPr>
          <a:lstStyle>
            <a:lvl1pPr>
              <a:defRPr sz="3400" b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0" y="0"/>
            <a:ext cx="5486400" cy="6858000"/>
          </a:xfrm>
          <a:solidFill>
            <a:schemeClr val="bg2">
              <a:lumMod val="90000"/>
            </a:schemeClr>
          </a:solidFill>
        </p:spPr>
        <p:txBody>
          <a:bodyPr rtlCol="0">
            <a:normAutofit/>
          </a:bodyPr>
          <a:lstStyle>
            <a:lvl1pPr marL="0" indent="0" algn="ctr">
              <a:buNone/>
              <a:defRPr sz="3200">
                <a:solidFill>
                  <a:schemeClr val="tx2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 smtClean="0"/>
              <a:t>Click icon to add picture</a:t>
            </a:r>
            <a:endParaRPr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942411" y="4355592"/>
            <a:ext cx="2400300" cy="1644614"/>
          </a:xfrm>
        </p:spPr>
        <p:txBody>
          <a:bodyPr>
            <a:normAutofit/>
          </a:bodyPr>
          <a:lstStyle>
            <a:lvl1pPr marL="0" indent="0">
              <a:spcBef>
                <a:spcPts val="1200"/>
              </a:spcBef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A74765C-DD33-8249-97D3-D022202D6E43}" type="datetimeFigureOut">
              <a:rPr lang="en-US">
                <a:solidFill>
                  <a:srgbClr val="E5E8E8"/>
                </a:solidFill>
              </a:rPr>
              <a:pPr>
                <a:defRPr/>
              </a:pPr>
              <a:t>3/9/2016</a:t>
            </a:fld>
            <a:endParaRPr lang="en-US" dirty="0">
              <a:solidFill>
                <a:srgbClr val="E5E8E8"/>
              </a:solidFill>
            </a:endParaRPr>
          </a:p>
        </p:txBody>
      </p:sp>
      <p:sp>
        <p:nvSpPr>
          <p:cNvPr id="7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dirty="0">
              <a:solidFill>
                <a:srgbClr val="E5E8E8"/>
              </a:solidFill>
            </a:endParaRPr>
          </a:p>
        </p:txBody>
      </p:sp>
      <p:sp>
        <p:nvSpPr>
          <p:cNvPr id="8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E79E07FC-E09F-8948-BE55-DEB33BB79BB1}" type="slidenum">
              <a:rPr lang="en-US">
                <a:solidFill>
                  <a:srgbClr val="E5E8E8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E5E8E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6854732"/>
      </p:ext>
    </p:extLst>
  </p:cSld>
  <p:clrMapOvr>
    <a:masterClrMapping/>
  </p:clrMapOvr>
  <p:transition spd="med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BFE82DA-BBAA-A74C-B4AD-32A2AF4839E3}" type="datetimeFigureOut">
              <a:rPr lang="en-US">
                <a:solidFill>
                  <a:srgbClr val="E5E8E8"/>
                </a:solidFill>
              </a:rPr>
              <a:pPr>
                <a:defRPr/>
              </a:pPr>
              <a:t>3/9/2016</a:t>
            </a:fld>
            <a:endParaRPr lang="en-US" dirty="0">
              <a:solidFill>
                <a:srgbClr val="E5E8E8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dirty="0">
              <a:solidFill>
                <a:srgbClr val="E5E8E8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730A1A0-45B7-4B4E-BFB4-FCD5F59C10CB}" type="slidenum">
              <a:rPr lang="en-US">
                <a:solidFill>
                  <a:srgbClr val="E5E8E8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E5E8E8"/>
              </a:solidFill>
            </a:endParaRPr>
          </a:p>
        </p:txBody>
      </p:sp>
      <p:pic>
        <p:nvPicPr>
          <p:cNvPr id="7" name="Picture 2" descr="D:\DATA\Logo\logo wcs all\WCS-LOGO TRANSPARENT.gif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7744" y="5589240"/>
            <a:ext cx="977280" cy="97728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798784724"/>
      </p:ext>
    </p:extLst>
  </p:cSld>
  <p:clrMapOvr>
    <a:masterClrMapping/>
  </p:clrMapOvr>
  <p:transition spd="med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274638"/>
            <a:ext cx="1971675" cy="5897562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274638"/>
            <a:ext cx="5800725" cy="589756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BBA91BF-7435-0144-973B-75F1DEC60539}" type="datetimeFigureOut">
              <a:rPr lang="en-US">
                <a:solidFill>
                  <a:srgbClr val="E5E8E8"/>
                </a:solidFill>
              </a:rPr>
              <a:pPr>
                <a:defRPr/>
              </a:pPr>
              <a:t>3/9/2016</a:t>
            </a:fld>
            <a:endParaRPr lang="en-US" dirty="0">
              <a:solidFill>
                <a:srgbClr val="E5E8E8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dirty="0">
              <a:solidFill>
                <a:srgbClr val="E5E8E8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A549A6C-4506-E649-A166-82BFB4E4E8BA}" type="slidenum">
              <a:rPr lang="en-US">
                <a:solidFill>
                  <a:srgbClr val="E5E8E8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E5E8E8"/>
              </a:solidFill>
            </a:endParaRPr>
          </a:p>
        </p:txBody>
      </p:sp>
      <p:pic>
        <p:nvPicPr>
          <p:cNvPr id="7" name="Picture 2" descr="D:\DATA\Logo\logo wcs all\WCS-LOGO TRANSPARENT.gif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7744" y="5589240"/>
            <a:ext cx="977280" cy="97728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456474115"/>
      </p:ext>
    </p:extLst>
  </p:cSld>
  <p:clrMapOvr>
    <a:masterClrMapping/>
  </p:clrMapOvr>
  <p:transition spd="med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528" y="980728"/>
            <a:ext cx="8534400" cy="5486400"/>
          </a:xfrm>
        </p:spPr>
        <p:txBody>
          <a:bodyPr/>
          <a:lstStyle>
            <a:lvl6pPr>
              <a:defRPr/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09DAFF0-F486-5649-9106-FCFCB433757C}" type="datetimeFigureOut">
              <a:rPr lang="en-US">
                <a:solidFill>
                  <a:srgbClr val="E5E8E8"/>
                </a:solidFill>
              </a:rPr>
              <a:pPr>
                <a:defRPr/>
              </a:pPr>
              <a:t>3/9/2016</a:t>
            </a:fld>
            <a:endParaRPr lang="en-US" dirty="0">
              <a:solidFill>
                <a:srgbClr val="E5E8E8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dirty="0">
              <a:solidFill>
                <a:srgbClr val="E5E8E8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E63120B-5361-BF4F-80ED-5BE72F54E4BF}" type="slidenum">
              <a:rPr lang="en-US">
                <a:solidFill>
                  <a:srgbClr val="E5E8E8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E5E8E8"/>
              </a:solidFill>
            </a:endParaRPr>
          </a:p>
        </p:txBody>
      </p:sp>
      <p:pic>
        <p:nvPicPr>
          <p:cNvPr id="7" name="Picture 2" descr="D:\DATA\Logo\logo wcs all\WCS-LOGO TRANSPARENT.gif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7744" y="0"/>
            <a:ext cx="977280" cy="97728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02018122"/>
      </p:ext>
    </p:extLst>
  </p:cSld>
  <p:clrMapOvr>
    <a:masterClrMapping/>
  </p:clrMapOvr>
  <p:transition spd="med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 bwMode="ltGray">
          <a:xfrm>
            <a:off x="0" y="0"/>
            <a:ext cx="9141620" cy="457200"/>
          </a:xfrm>
          <a:prstGeom prst="rect">
            <a:avLst/>
          </a:prstGeom>
          <a:gradFill flip="none" rotWithShape="1">
            <a:gsLst>
              <a:gs pos="100000">
                <a:schemeClr val="tx2">
                  <a:lumMod val="75000"/>
                </a:schemeClr>
              </a:gs>
              <a:gs pos="0">
                <a:schemeClr val="tx2"/>
              </a:gs>
            </a:gsLst>
            <a:path path="circle">
              <a:fillToRect l="50000" t="50000" r="50000" b="50000"/>
            </a:path>
            <a:tileRect/>
          </a:gra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kern="0" dirty="0">
              <a:solidFill>
                <a:prstClr val="white"/>
              </a:solidFill>
              <a:latin typeface="Euphemia"/>
              <a:ea typeface="ＭＳ Ｐゴシック" charset="0"/>
            </a:endParaRPr>
          </a:p>
        </p:txBody>
      </p:sp>
      <p:sp>
        <p:nvSpPr>
          <p:cNvPr id="5" name="Rectangle 4"/>
          <p:cNvSpPr/>
          <p:nvPr/>
        </p:nvSpPr>
        <p:spPr bwMode="white">
          <a:xfrm>
            <a:off x="0" y="411163"/>
            <a:ext cx="9142413" cy="460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3000" y="1143000"/>
            <a:ext cx="6858000" cy="2667000"/>
          </a:xfrm>
        </p:spPr>
        <p:txBody>
          <a:bodyPr>
            <a:normAutofit/>
          </a:bodyPr>
          <a:lstStyle>
            <a:lvl1pPr algn="ctr">
              <a:defRPr sz="5200" b="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3810000"/>
            <a:ext cx="6858000" cy="1143000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400" cap="none" baseline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4E536882-4C80-0D40-B945-D09324FB5CD2}" type="datetimeFigureOut">
              <a:rPr lang="en-US">
                <a:solidFill>
                  <a:srgbClr val="E5E8E8"/>
                </a:solidFill>
              </a:rPr>
              <a:pPr>
                <a:defRPr/>
              </a:pPr>
              <a:t>3/9/2016</a:t>
            </a:fld>
            <a:endParaRPr lang="en-US" dirty="0">
              <a:solidFill>
                <a:srgbClr val="E5E8E8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dirty="0">
              <a:solidFill>
                <a:srgbClr val="E5E8E8"/>
              </a:solidFill>
            </a:endParaRP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4D78389-BC85-0A48-B4A2-71BBE76609D5}" type="slidenum">
              <a:rPr lang="en-US">
                <a:solidFill>
                  <a:srgbClr val="E5E8E8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E5E8E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0239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Alternate Section Header"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3000" y="1143000"/>
            <a:ext cx="6858000" cy="2667000"/>
          </a:xfrm>
        </p:spPr>
        <p:txBody>
          <a:bodyPr>
            <a:normAutofit/>
          </a:bodyPr>
          <a:lstStyle>
            <a:lvl1pPr algn="ctr">
              <a:defRPr sz="5200"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1810" y="3810000"/>
            <a:ext cx="6858000" cy="1143000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400" cap="none" baseline="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A2B95627-7B48-7249-95A1-03E9818BBBA8}" type="datetimeFigureOut">
              <a:rPr lang="en-US">
                <a:solidFill>
                  <a:srgbClr val="E5E8E8"/>
                </a:solidFill>
              </a:rPr>
              <a:pPr>
                <a:defRPr/>
              </a:pPr>
              <a:t>3/9/2016</a:t>
            </a:fld>
            <a:endParaRPr lang="en-US" dirty="0">
              <a:solidFill>
                <a:srgbClr val="E5E8E8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dirty="0">
              <a:solidFill>
                <a:srgbClr val="E5E8E8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2B129B03-D050-6E43-9BF3-CA68F496F052}" type="slidenum">
              <a:rPr lang="en-US">
                <a:solidFill>
                  <a:srgbClr val="E5E8E8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E5E8E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04593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05840" y="1901952"/>
            <a:ext cx="3429000" cy="412394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09160" y="1901952"/>
            <a:ext cx="3429000" cy="412394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7197DD-9097-784E-93B4-C3CC9E37606C}" type="datetimeFigureOut">
              <a:rPr lang="en-US">
                <a:solidFill>
                  <a:srgbClr val="E5E8E8"/>
                </a:solidFill>
              </a:rPr>
              <a:pPr>
                <a:defRPr/>
              </a:pPr>
              <a:t>3/9/2016</a:t>
            </a:fld>
            <a:endParaRPr lang="en-US" dirty="0">
              <a:solidFill>
                <a:srgbClr val="E5E8E8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dirty="0">
              <a:solidFill>
                <a:srgbClr val="E5E8E8"/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5C82E1-7459-9040-B1FF-B50D840FBE81}" type="slidenum">
              <a:rPr lang="en-US">
                <a:solidFill>
                  <a:srgbClr val="E5E8E8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E5E8E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9598907"/>
      </p:ext>
    </p:extLst>
  </p:cSld>
  <p:clrMapOvr>
    <a:masterClrMapping/>
  </p:clrMapOvr>
  <p:transition spd="med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05840" y="1901952"/>
            <a:ext cx="3429000" cy="412394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09160" y="1901952"/>
            <a:ext cx="3429000" cy="412394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7197DD-9097-784E-93B4-C3CC9E37606C}" type="datetimeFigureOut">
              <a:rPr lang="en-US">
                <a:solidFill>
                  <a:srgbClr val="E5E8E8"/>
                </a:solidFill>
              </a:rPr>
              <a:pPr>
                <a:defRPr/>
              </a:pPr>
              <a:t>3/9/2016</a:t>
            </a:fld>
            <a:endParaRPr lang="en-US" dirty="0">
              <a:solidFill>
                <a:srgbClr val="E5E8E8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dirty="0">
              <a:solidFill>
                <a:srgbClr val="E5E8E8"/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5C82E1-7459-9040-B1FF-B50D840FBE81}" type="slidenum">
              <a:rPr lang="en-US">
                <a:solidFill>
                  <a:srgbClr val="E5E8E8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E5E8E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3048928"/>
      </p:ext>
    </p:extLst>
  </p:cSld>
  <p:clrMapOvr>
    <a:masterClrMapping/>
  </p:clrMapOvr>
  <p:transition spd="med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5840" y="466344"/>
            <a:ext cx="7132320" cy="123444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05840" y="1837464"/>
            <a:ext cx="3429000" cy="766588"/>
          </a:xfrm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2200" b="0" cap="none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05840" y="2740733"/>
            <a:ext cx="3429000" cy="3288847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09160" y="1837464"/>
            <a:ext cx="3429000" cy="766588"/>
          </a:xfrm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2200" b="0" cap="none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09160" y="2740733"/>
            <a:ext cx="3429000" cy="3288847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89A3EA9-9AE4-E545-95B1-B617B611F1A9}" type="datetimeFigureOut">
              <a:rPr lang="en-US">
                <a:solidFill>
                  <a:srgbClr val="E5E8E8"/>
                </a:solidFill>
              </a:rPr>
              <a:pPr>
                <a:defRPr/>
              </a:pPr>
              <a:t>3/9/2016</a:t>
            </a:fld>
            <a:endParaRPr lang="en-US" dirty="0">
              <a:solidFill>
                <a:srgbClr val="E5E8E8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dirty="0">
              <a:solidFill>
                <a:srgbClr val="E5E8E8"/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F1DD2AE-D8C9-974A-974D-71B43761F8C5}" type="slidenum">
              <a:rPr lang="en-US">
                <a:solidFill>
                  <a:srgbClr val="E5E8E8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E5E8E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6522718"/>
      </p:ext>
    </p:extLst>
  </p:cSld>
  <p:clrMapOvr>
    <a:masterClrMapping/>
  </p:clrMapOvr>
  <p:transition spd="med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8B8D1E1-8719-934D-A215-A8BA32AFAE89}" type="datetimeFigureOut">
              <a:rPr lang="en-US">
                <a:solidFill>
                  <a:srgbClr val="E5E8E8"/>
                </a:solidFill>
              </a:rPr>
              <a:pPr>
                <a:defRPr/>
              </a:pPr>
              <a:t>3/9/2016</a:t>
            </a:fld>
            <a:endParaRPr lang="en-US" dirty="0">
              <a:solidFill>
                <a:srgbClr val="E5E8E8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dirty="0">
              <a:solidFill>
                <a:srgbClr val="E5E8E8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63CF8E5-B21D-084C-AEBE-5D9825EA8CDE}" type="slidenum">
              <a:rPr lang="en-US">
                <a:solidFill>
                  <a:srgbClr val="E5E8E8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E5E8E8"/>
              </a:solidFill>
            </a:endParaRPr>
          </a:p>
        </p:txBody>
      </p:sp>
      <p:pic>
        <p:nvPicPr>
          <p:cNvPr id="6" name="Picture 2" descr="D:\DATA\Logo\logo wcs all\WCS-LOGO TRANSPARENT.gif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7744" y="5680"/>
            <a:ext cx="977280" cy="97728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79868263"/>
      </p:ext>
    </p:extLst>
  </p:cSld>
  <p:clrMapOvr>
    <a:masterClrMapping/>
  </p:clrMapOvr>
  <p:transition spd="med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11AAB447-8ABE-464C-BC28-1BDEB2B9671B}" type="datetimeFigureOut">
              <a:rPr lang="en-US">
                <a:solidFill>
                  <a:srgbClr val="263050"/>
                </a:solidFill>
              </a:rPr>
              <a:pPr>
                <a:defRPr/>
              </a:pPr>
              <a:t>3/9/2016</a:t>
            </a:fld>
            <a:endParaRPr lang="en-US" dirty="0">
              <a:solidFill>
                <a:srgbClr val="26305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dirty="0">
              <a:solidFill>
                <a:srgbClr val="26305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F6DC00B5-CD61-2D49-9DC5-2CE67E140F1E}" type="slidenum">
              <a:rPr lang="en-US">
                <a:solidFill>
                  <a:srgbClr val="26305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263050"/>
              </a:solidFill>
            </a:endParaRPr>
          </a:p>
        </p:txBody>
      </p:sp>
      <p:pic>
        <p:nvPicPr>
          <p:cNvPr id="5" name="Picture 2" descr="D:\DATA\Logo\logo wcs all\WCS-LOGO TRANSPARENT.gif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7744" y="5589240"/>
            <a:ext cx="977280" cy="97728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4199305649"/>
      </p:ext>
    </p:extLst>
  </p:cSld>
  <p:clrMapOvr>
    <a:masterClrMapping/>
  </p:clrMapOvr>
  <p:transition spd="med"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ltGray">
          <a:xfrm>
            <a:off x="1190" y="6583680"/>
            <a:ext cx="9141620" cy="274320"/>
          </a:xfrm>
          <a:prstGeom prst="rect">
            <a:avLst/>
          </a:prstGeom>
          <a:gradFill flip="none" rotWithShape="1">
            <a:gsLst>
              <a:gs pos="100000">
                <a:schemeClr val="tx2">
                  <a:lumMod val="75000"/>
                </a:schemeClr>
              </a:gs>
              <a:gs pos="0">
                <a:schemeClr val="tx2"/>
              </a:gs>
            </a:gsLst>
            <a:path path="circle">
              <a:fillToRect l="50000" t="50000" r="50000" b="50000"/>
            </a:path>
            <a:tileRect/>
          </a:gra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kern="0" dirty="0">
              <a:solidFill>
                <a:prstClr val="white"/>
              </a:solidFill>
              <a:latin typeface="Euphemia"/>
              <a:ea typeface="ＭＳ Ｐゴシック" charset="0"/>
            </a:endParaRPr>
          </a:p>
        </p:txBody>
      </p:sp>
      <p:sp>
        <p:nvSpPr>
          <p:cNvPr id="8" name="Rectangle 7"/>
          <p:cNvSpPr/>
          <p:nvPr/>
        </p:nvSpPr>
        <p:spPr bwMode="white">
          <a:xfrm>
            <a:off x="1588" y="6583363"/>
            <a:ext cx="9140825" cy="460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dirty="0">
              <a:solidFill>
                <a:prstClr val="white"/>
              </a:solidFill>
            </a:endParaRPr>
          </a:p>
        </p:txBody>
      </p:sp>
      <p:sp>
        <p:nvSpPr>
          <p:cNvPr id="1030" name="Title Placeholder 1"/>
          <p:cNvSpPr>
            <a:spLocks noGrp="1"/>
          </p:cNvSpPr>
          <p:nvPr>
            <p:ph type="title"/>
          </p:nvPr>
        </p:nvSpPr>
        <p:spPr bwMode="auto">
          <a:xfrm>
            <a:off x="304800" y="152400"/>
            <a:ext cx="853440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3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04800" y="990600"/>
            <a:ext cx="8534400" cy="548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656388" y="6602413"/>
            <a:ext cx="720725" cy="236537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800" smtClean="0">
                <a:solidFill>
                  <a:schemeClr val="bg2"/>
                </a:solidFill>
                <a:latin typeface="Corbe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7635B06-E80B-1043-BBC5-BD0CF7A2A31A}" type="datetimeFigureOut">
              <a:rPr lang="en-US">
                <a:solidFill>
                  <a:srgbClr val="E5E8E8"/>
                </a:solidFill>
                <a:ea typeface="ＭＳ Ｐゴシック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/9/2016</a:t>
            </a:fld>
            <a:endParaRPr lang="en-US" dirty="0">
              <a:solidFill>
                <a:srgbClr val="E5E8E8"/>
              </a:solidFill>
              <a:ea typeface="ＭＳ Ｐゴシック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06475" y="6602413"/>
            <a:ext cx="5368925" cy="2365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800" cap="all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dirty="0">
              <a:solidFill>
                <a:srgbClr val="E5E8E8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658100" y="6602413"/>
            <a:ext cx="479425" cy="236537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800" smtClean="0">
                <a:solidFill>
                  <a:schemeClr val="bg2"/>
                </a:solidFill>
                <a:latin typeface="Corbe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2C6E554-0C02-DC45-8CEC-043ECB6C16C2}" type="slidenum">
              <a:rPr lang="en-US">
                <a:solidFill>
                  <a:srgbClr val="E5E8E8"/>
                </a:solidFill>
                <a:ea typeface="ＭＳ Ｐゴシック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srgbClr val="E5E8E8"/>
              </a:solidFill>
              <a:ea typeface="ＭＳ Ｐゴシック" charset="0"/>
            </a:endParaRPr>
          </a:p>
        </p:txBody>
      </p:sp>
      <p:cxnSp>
        <p:nvCxnSpPr>
          <p:cNvPr id="3" name="Straight Connector 2"/>
          <p:cNvCxnSpPr/>
          <p:nvPr/>
        </p:nvCxnSpPr>
        <p:spPr>
          <a:xfrm flipV="1">
            <a:off x="1588" y="692696"/>
            <a:ext cx="9144000" cy="0"/>
          </a:xfrm>
          <a:prstGeom prst="line">
            <a:avLst/>
          </a:prstGeom>
          <a:ln w="63500"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030578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74" r:id="rId6"/>
    <p:sldLayoutId id="2147483666" r:id="rId7"/>
    <p:sldLayoutId id="2147483667" r:id="rId8"/>
    <p:sldLayoutId id="2147483668" r:id="rId9"/>
    <p:sldLayoutId id="2147483669" r:id="rId10"/>
    <p:sldLayoutId id="2147483670" r:id="rId11"/>
    <p:sldLayoutId id="2147483671" r:id="rId12"/>
    <p:sldLayoutId id="2147483672" r:id="rId13"/>
    <p:sldLayoutId id="2147483673" r:id="rId14"/>
  </p:sldLayoutIdLst>
  <p:transition spd="med">
    <p:fade/>
  </p:transition>
  <p:txStyles>
    <p:titleStyle>
      <a:lvl1pPr algn="ctr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defRPr sz="2800" b="1" kern="1200" cap="all">
          <a:solidFill>
            <a:srgbClr val="1D243C"/>
          </a:solidFill>
          <a:latin typeface="Corbel"/>
          <a:ea typeface="ＭＳ Ｐゴシック" charset="0"/>
          <a:cs typeface="Corbel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buFont typeface="Arial" charset="0"/>
        <a:defRPr sz="3400">
          <a:solidFill>
            <a:srgbClr val="1D243C"/>
          </a:solidFill>
          <a:latin typeface="Corbel" pitchFamily="34" charset="0"/>
          <a:ea typeface="ＭＳ Ｐゴシック" charset="0"/>
          <a:cs typeface="ＭＳ Ｐゴシック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buFont typeface="Arial" charset="0"/>
        <a:defRPr sz="3400">
          <a:solidFill>
            <a:srgbClr val="1D243C"/>
          </a:solidFill>
          <a:latin typeface="Corbel" pitchFamily="34" charset="0"/>
          <a:ea typeface="ＭＳ Ｐゴシック" charset="0"/>
          <a:cs typeface="ＭＳ Ｐゴシック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buFont typeface="Arial" charset="0"/>
        <a:defRPr sz="3400">
          <a:solidFill>
            <a:srgbClr val="1D243C"/>
          </a:solidFill>
          <a:latin typeface="Corbel" pitchFamily="34" charset="0"/>
          <a:ea typeface="ＭＳ Ｐゴシック" charset="0"/>
          <a:cs typeface="ＭＳ Ｐゴシック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buFont typeface="Arial" charset="0"/>
        <a:defRPr sz="3400">
          <a:solidFill>
            <a:srgbClr val="1D243C"/>
          </a:solidFill>
          <a:latin typeface="Corbel" pitchFamily="34" charset="0"/>
          <a:ea typeface="ＭＳ Ｐゴシック" charset="0"/>
          <a:cs typeface="ＭＳ Ｐゴシック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buFont typeface="Arial" pitchFamily="34" charset="0"/>
        <a:defRPr sz="3400">
          <a:solidFill>
            <a:srgbClr val="1D243C"/>
          </a:solidFill>
          <a:latin typeface="Corbel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buFont typeface="Arial" pitchFamily="34" charset="0"/>
        <a:defRPr sz="3400">
          <a:solidFill>
            <a:srgbClr val="1D243C"/>
          </a:solidFill>
          <a:latin typeface="Corbel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buFont typeface="Arial" pitchFamily="34" charset="0"/>
        <a:defRPr sz="3400">
          <a:solidFill>
            <a:srgbClr val="1D243C"/>
          </a:solidFill>
          <a:latin typeface="Corbel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buFont typeface="Arial" pitchFamily="34" charset="0"/>
        <a:defRPr sz="3400">
          <a:solidFill>
            <a:srgbClr val="1D243C"/>
          </a:solidFill>
          <a:latin typeface="Corbel" pitchFamily="34" charset="0"/>
        </a:defRPr>
      </a:lvl9pPr>
    </p:titleStyle>
    <p:bodyStyle>
      <a:lvl1pPr marL="273050" indent="-228600" algn="l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80000"/>
        <a:buFont typeface="Wingdings" charset="0"/>
        <a:buChar char="§"/>
        <a:defRPr sz="2000" kern="1200">
          <a:solidFill>
            <a:schemeClr val="tx2"/>
          </a:solidFill>
          <a:latin typeface="+mn-lt"/>
          <a:ea typeface="ＭＳ Ｐゴシック" charset="0"/>
          <a:cs typeface="ＭＳ Ｐゴシック" charset="0"/>
        </a:defRPr>
      </a:lvl1pPr>
      <a:lvl2pPr marL="593725" indent="-228600" algn="l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80000"/>
        <a:buFont typeface="Wingdings" charset="0"/>
        <a:buChar char="§"/>
        <a:defRPr kern="1200">
          <a:solidFill>
            <a:schemeClr val="tx2"/>
          </a:solidFill>
          <a:latin typeface="+mn-lt"/>
          <a:ea typeface="ＭＳ Ｐゴシック" charset="0"/>
          <a:cs typeface="+mn-cs"/>
        </a:defRPr>
      </a:lvl2pPr>
      <a:lvl3pPr marL="914400" indent="-228600" algn="l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80000"/>
        <a:buFont typeface="Wingdings" charset="0"/>
        <a:buChar char="§"/>
        <a:defRPr sz="1600" kern="1200">
          <a:solidFill>
            <a:schemeClr val="tx2"/>
          </a:solidFill>
          <a:latin typeface="+mn-lt"/>
          <a:ea typeface="ＭＳ Ｐゴシック" charset="0"/>
          <a:cs typeface="+mn-cs"/>
        </a:defRPr>
      </a:lvl3pPr>
      <a:lvl4pPr marL="1233488" indent="-228600" algn="l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80000"/>
        <a:buFont typeface="Wingdings" charset="0"/>
        <a:buChar char="§"/>
        <a:defRPr sz="1400" kern="1200">
          <a:solidFill>
            <a:schemeClr val="tx2"/>
          </a:solidFill>
          <a:latin typeface="+mn-lt"/>
          <a:ea typeface="ＭＳ Ｐゴシック" charset="0"/>
          <a:cs typeface="+mn-cs"/>
        </a:defRPr>
      </a:lvl4pPr>
      <a:lvl5pPr marL="1554163" indent="-228600" algn="l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SzPct val="80000"/>
        <a:buFont typeface="Wingdings" charset="0"/>
        <a:buChar char="§"/>
        <a:defRPr sz="1400" kern="1200">
          <a:solidFill>
            <a:schemeClr val="tx2"/>
          </a:solidFill>
          <a:latin typeface="+mn-lt"/>
          <a:ea typeface="ＭＳ Ｐゴシック" charset="0"/>
          <a:cs typeface="+mn-cs"/>
        </a:defRPr>
      </a:lvl5pPr>
      <a:lvl6pPr marL="1874520" indent="-228600" algn="l" defTabSz="914400" rtl="0" eaLnBrk="1" latinLnBrk="0" hangingPunct="1">
        <a:lnSpc>
          <a:spcPct val="90000"/>
        </a:lnSpc>
        <a:spcBef>
          <a:spcPts val="800"/>
        </a:spcBef>
        <a:buSzPct val="80000"/>
        <a:buFont typeface="Wingdings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2194560" indent="-228600" algn="l" defTabSz="914400" rtl="0" eaLnBrk="1" latinLnBrk="0" hangingPunct="1">
        <a:lnSpc>
          <a:spcPct val="90000"/>
        </a:lnSpc>
        <a:spcBef>
          <a:spcPts val="800"/>
        </a:spcBef>
        <a:buSzPct val="80000"/>
        <a:buFont typeface="Wingdings" pitchFamily="2" charset="2"/>
        <a:buChar char="§"/>
        <a:defRPr sz="1400" kern="1200" baseline="0">
          <a:solidFill>
            <a:schemeClr val="tx2"/>
          </a:solidFill>
          <a:latin typeface="+mn-lt"/>
          <a:ea typeface="+mn-ea"/>
          <a:cs typeface="+mn-cs"/>
        </a:defRPr>
      </a:lvl7pPr>
      <a:lvl8pPr marL="2514600" indent="-228600" algn="l" defTabSz="914400" rtl="0" eaLnBrk="1" latinLnBrk="0" hangingPunct="1">
        <a:lnSpc>
          <a:spcPct val="90000"/>
        </a:lnSpc>
        <a:spcBef>
          <a:spcPts val="800"/>
        </a:spcBef>
        <a:buSzPct val="80000"/>
        <a:buFont typeface="Wingdings" pitchFamily="2" charset="2"/>
        <a:buChar char="§"/>
        <a:defRPr sz="1400" kern="1200" baseline="0">
          <a:solidFill>
            <a:schemeClr val="tx2"/>
          </a:solidFill>
          <a:latin typeface="+mn-lt"/>
          <a:ea typeface="+mn-ea"/>
          <a:cs typeface="+mn-cs"/>
        </a:defRPr>
      </a:lvl8pPr>
      <a:lvl9pPr marL="2834640" indent="-228600" algn="l" defTabSz="914400" rtl="0" eaLnBrk="1" latinLnBrk="0" hangingPunct="1">
        <a:lnSpc>
          <a:spcPct val="90000"/>
        </a:lnSpc>
        <a:spcBef>
          <a:spcPts val="800"/>
        </a:spcBef>
        <a:buSzPct val="80000"/>
        <a:buFont typeface="Wingdings" pitchFamily="2" charset="2"/>
        <a:buChar char="§"/>
        <a:defRPr sz="140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image" Target="../media/image12.jpeg"/><Relationship Id="rId7" Type="http://schemas.openxmlformats.org/officeDocument/2006/relationships/image" Target="../media/image16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png"/><Relationship Id="rId5" Type="http://schemas.openxmlformats.org/officeDocument/2006/relationships/image" Target="../media/image14.jpeg"/><Relationship Id="rId4" Type="http://schemas.openxmlformats.org/officeDocument/2006/relationships/image" Target="../media/image13.jpeg"/><Relationship Id="rId9" Type="http://schemas.openxmlformats.org/officeDocument/2006/relationships/image" Target="../media/image18.jpe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4.jpeg"/><Relationship Id="rId4" Type="http://schemas.openxmlformats.org/officeDocument/2006/relationships/image" Target="../media/image23.jpe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jpeg"/><Relationship Id="rId3" Type="http://schemas.openxmlformats.org/officeDocument/2006/relationships/image" Target="../media/image25.png"/><Relationship Id="rId7" Type="http://schemas.openxmlformats.org/officeDocument/2006/relationships/image" Target="../media/image29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8.jpeg"/><Relationship Id="rId5" Type="http://schemas.openxmlformats.org/officeDocument/2006/relationships/image" Target="../media/image27.png"/><Relationship Id="rId10" Type="http://schemas.openxmlformats.org/officeDocument/2006/relationships/image" Target="../media/image32.png"/><Relationship Id="rId4" Type="http://schemas.openxmlformats.org/officeDocument/2006/relationships/image" Target="../media/image26.png"/><Relationship Id="rId9" Type="http://schemas.openxmlformats.org/officeDocument/2006/relationships/image" Target="../media/image31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33.jpe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gif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13" Type="http://schemas.openxmlformats.org/officeDocument/2006/relationships/image" Target="../media/image39.png"/><Relationship Id="rId3" Type="http://schemas.openxmlformats.org/officeDocument/2006/relationships/tags" Target="../tags/tag14.xml"/><Relationship Id="rId7" Type="http://schemas.openxmlformats.org/officeDocument/2006/relationships/tags" Target="../tags/tag18.xml"/><Relationship Id="rId12" Type="http://schemas.openxmlformats.org/officeDocument/2006/relationships/image" Target="../media/image38.jpe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tags" Target="../tags/tag17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16.xml"/><Relationship Id="rId10" Type="http://schemas.openxmlformats.org/officeDocument/2006/relationships/tags" Target="../tags/tag21.xml"/><Relationship Id="rId4" Type="http://schemas.openxmlformats.org/officeDocument/2006/relationships/tags" Target="../tags/tag15.xml"/><Relationship Id="rId9" Type="http://schemas.openxmlformats.org/officeDocument/2006/relationships/tags" Target="../tags/tag20.xml"/><Relationship Id="rId14" Type="http://schemas.openxmlformats.org/officeDocument/2006/relationships/image" Target="../media/image40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tags" Target="../tags/tag27.xml"/><Relationship Id="rId5" Type="http://schemas.openxmlformats.org/officeDocument/2006/relationships/tags" Target="../tags/tag26.xml"/><Relationship Id="rId4" Type="http://schemas.openxmlformats.org/officeDocument/2006/relationships/tags" Target="../tags/tag25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4" Type="http://schemas.openxmlformats.org/officeDocument/2006/relationships/notesSlide" Target="../notesSlides/notesSlide5.xml"/></Relationships>
</file>

<file path=ppt/slides/_rels/slide37.xml.rels><?xml version="1.0" encoding="UTF-8" standalone="yes"?>
<Relationships xmlns="http://schemas.openxmlformats.org/package/2006/relationships"><Relationship Id="rId8" Type="http://schemas.microsoft.com/office/2007/relationships/hdphoto" Target="../media/hdphoto5.wdp"/><Relationship Id="rId3" Type="http://schemas.microsoft.com/office/2007/relationships/hdphoto" Target="../media/hdphoto1.wdp"/><Relationship Id="rId7" Type="http://schemas.microsoft.com/office/2007/relationships/hdphoto" Target="../media/hdphoto4.wdp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2.png"/><Relationship Id="rId5" Type="http://schemas.microsoft.com/office/2007/relationships/hdphoto" Target="../media/hdphoto3.wdp"/><Relationship Id="rId4" Type="http://schemas.microsoft.com/office/2007/relationships/hdphoto" Target="../media/hdphoto2.wdp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tags" Target="../tags/tag37.xml"/><Relationship Id="rId3" Type="http://schemas.openxmlformats.org/officeDocument/2006/relationships/tags" Target="../tags/tag32.xml"/><Relationship Id="rId7" Type="http://schemas.openxmlformats.org/officeDocument/2006/relationships/tags" Target="../tags/tag36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tags" Target="../tags/tag35.xml"/><Relationship Id="rId5" Type="http://schemas.openxmlformats.org/officeDocument/2006/relationships/tags" Target="../tags/tag34.xml"/><Relationship Id="rId4" Type="http://schemas.openxmlformats.org/officeDocument/2006/relationships/tags" Target="../tags/tag33.xml"/><Relationship Id="rId9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tags" Target="../tags/tag45.xml"/><Relationship Id="rId13" Type="http://schemas.openxmlformats.org/officeDocument/2006/relationships/tags" Target="../tags/tag50.xml"/><Relationship Id="rId3" Type="http://schemas.openxmlformats.org/officeDocument/2006/relationships/tags" Target="../tags/tag40.xml"/><Relationship Id="rId7" Type="http://schemas.openxmlformats.org/officeDocument/2006/relationships/tags" Target="../tags/tag44.xml"/><Relationship Id="rId12" Type="http://schemas.openxmlformats.org/officeDocument/2006/relationships/tags" Target="../tags/tag49.xml"/><Relationship Id="rId2" Type="http://schemas.openxmlformats.org/officeDocument/2006/relationships/tags" Target="../tags/tag39.xml"/><Relationship Id="rId16" Type="http://schemas.openxmlformats.org/officeDocument/2006/relationships/slideLayout" Target="../slideLayouts/slideLayout2.xml"/><Relationship Id="rId1" Type="http://schemas.openxmlformats.org/officeDocument/2006/relationships/tags" Target="../tags/tag38.xml"/><Relationship Id="rId6" Type="http://schemas.openxmlformats.org/officeDocument/2006/relationships/tags" Target="../tags/tag43.xml"/><Relationship Id="rId11" Type="http://schemas.openxmlformats.org/officeDocument/2006/relationships/tags" Target="../tags/tag48.xml"/><Relationship Id="rId5" Type="http://schemas.openxmlformats.org/officeDocument/2006/relationships/tags" Target="../tags/tag42.xml"/><Relationship Id="rId15" Type="http://schemas.openxmlformats.org/officeDocument/2006/relationships/tags" Target="../tags/tag52.xml"/><Relationship Id="rId10" Type="http://schemas.openxmlformats.org/officeDocument/2006/relationships/tags" Target="../tags/tag47.xml"/><Relationship Id="rId4" Type="http://schemas.openxmlformats.org/officeDocument/2006/relationships/tags" Target="../tags/tag41.xml"/><Relationship Id="rId9" Type="http://schemas.openxmlformats.org/officeDocument/2006/relationships/tags" Target="../tags/tag46.xml"/><Relationship Id="rId14" Type="http://schemas.openxmlformats.org/officeDocument/2006/relationships/tags" Target="../tags/tag5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5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3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4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9512" y="5157192"/>
            <a:ext cx="7704856" cy="1368152"/>
          </a:xfrm>
        </p:spPr>
        <p:txBody>
          <a:bodyPr>
            <a:normAutofit fontScale="90000"/>
          </a:bodyPr>
          <a:lstStyle/>
          <a:p>
            <a:r>
              <a:rPr lang="en-GB" dirty="0" smtClean="0"/>
              <a:t>REGIONAL WILDLIFE TRADE </a:t>
            </a:r>
            <a:r>
              <a:rPr lang="en-GB" sz="3100" dirty="0" smtClean="0"/>
              <a:t>TRENDS AND ISSUES</a:t>
            </a:r>
            <a:r>
              <a:rPr lang="en-GB" sz="2700" dirty="0" smtClean="0"/>
              <a:t/>
            </a:r>
            <a:br>
              <a:rPr lang="en-GB" sz="2700" dirty="0" smtClean="0"/>
            </a:br>
            <a:r>
              <a:rPr lang="en-GB" sz="1800" dirty="0" smtClean="0"/>
              <a:t>Manado, 20</a:t>
            </a:r>
            <a:r>
              <a:rPr lang="en-GB" sz="1800" baseline="30000" dirty="0" smtClean="0"/>
              <a:t>th</a:t>
            </a:r>
            <a:r>
              <a:rPr lang="en-GB" sz="1800" dirty="0" smtClean="0"/>
              <a:t> May 2015</a:t>
            </a:r>
            <a:endParaRPr lang="en-GB" sz="3600" dirty="0"/>
          </a:p>
        </p:txBody>
      </p:sp>
      <p:pic>
        <p:nvPicPr>
          <p:cNvPr id="5" name="Picture 2" descr="D:\DATA\Logo\logo wcs all\WCS-LOGO TRANSPARENT.gif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60840" y="4869160"/>
            <a:ext cx="1619672" cy="161967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5363" name="Picture 3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00" t="3449" r="-1700"/>
          <a:stretch/>
        </p:blipFill>
        <p:spPr bwMode="auto">
          <a:xfrm>
            <a:off x="665820" y="-45343"/>
            <a:ext cx="8154652" cy="49145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8959298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7504" y="152400"/>
            <a:ext cx="8534400" cy="523875"/>
          </a:xfrm>
        </p:spPr>
        <p:txBody>
          <a:bodyPr/>
          <a:lstStyle/>
          <a:p>
            <a:r>
              <a:rPr lang="en-GB" dirty="0" smtClean="0"/>
              <a:t>BUT IN ASIA, MARKETS ARE TRANSNATIONAL</a:t>
            </a:r>
            <a:endParaRPr lang="en-GB" dirty="0"/>
          </a:p>
        </p:txBody>
      </p:sp>
      <p:grpSp>
        <p:nvGrpSpPr>
          <p:cNvPr id="4" name="Group 3"/>
          <p:cNvGrpSpPr/>
          <p:nvPr/>
        </p:nvGrpSpPr>
        <p:grpSpPr>
          <a:xfrm>
            <a:off x="395536" y="993704"/>
            <a:ext cx="7992888" cy="5531640"/>
            <a:chOff x="-5640" y="174037"/>
            <a:chExt cx="9144000" cy="6509926"/>
          </a:xfrm>
        </p:grpSpPr>
        <p:pic>
          <p:nvPicPr>
            <p:cNvPr id="5" name="Picture 2" descr="Asia.jpg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5640" y="174037"/>
              <a:ext cx="9144000" cy="65099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6" name="Straight Arrow Connector 5"/>
            <p:cNvCxnSpPr/>
            <p:nvPr/>
          </p:nvCxnSpPr>
          <p:spPr>
            <a:xfrm flipV="1">
              <a:off x="4495800" y="2819400"/>
              <a:ext cx="228600" cy="152400"/>
            </a:xfrm>
            <a:prstGeom prst="straightConnector1">
              <a:avLst/>
            </a:prstGeom>
            <a:ln>
              <a:solidFill>
                <a:srgbClr val="FF0000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Arrow Connector 6"/>
            <p:cNvCxnSpPr/>
            <p:nvPr/>
          </p:nvCxnSpPr>
          <p:spPr>
            <a:xfrm>
              <a:off x="4572000" y="3429000"/>
              <a:ext cx="457200" cy="1588"/>
            </a:xfrm>
            <a:prstGeom prst="straightConnector1">
              <a:avLst/>
            </a:prstGeom>
            <a:ln>
              <a:solidFill>
                <a:srgbClr val="FF0000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Arrow Connector 7"/>
            <p:cNvCxnSpPr/>
            <p:nvPr/>
          </p:nvCxnSpPr>
          <p:spPr>
            <a:xfrm>
              <a:off x="4648200" y="3733800"/>
              <a:ext cx="304800" cy="228600"/>
            </a:xfrm>
            <a:prstGeom prst="straightConnector1">
              <a:avLst/>
            </a:prstGeom>
            <a:ln>
              <a:solidFill>
                <a:srgbClr val="FF0000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Arrow Connector 8"/>
            <p:cNvCxnSpPr/>
            <p:nvPr/>
          </p:nvCxnSpPr>
          <p:spPr>
            <a:xfrm>
              <a:off x="4114800" y="2895600"/>
              <a:ext cx="228600" cy="1588"/>
            </a:xfrm>
            <a:prstGeom prst="straightConnector1">
              <a:avLst/>
            </a:prstGeom>
            <a:ln>
              <a:solidFill>
                <a:srgbClr val="FF0000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Arrow Connector 9"/>
            <p:cNvCxnSpPr/>
            <p:nvPr/>
          </p:nvCxnSpPr>
          <p:spPr>
            <a:xfrm rot="16200000" flipH="1">
              <a:off x="4038600" y="3352800"/>
              <a:ext cx="152400" cy="152400"/>
            </a:xfrm>
            <a:prstGeom prst="straightConnector1">
              <a:avLst/>
            </a:prstGeom>
            <a:ln>
              <a:solidFill>
                <a:srgbClr val="FF0000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Arrow Connector 10"/>
            <p:cNvCxnSpPr/>
            <p:nvPr/>
          </p:nvCxnSpPr>
          <p:spPr>
            <a:xfrm flipV="1">
              <a:off x="4038600" y="2590800"/>
              <a:ext cx="304800" cy="150813"/>
            </a:xfrm>
            <a:prstGeom prst="straightConnector1">
              <a:avLst/>
            </a:prstGeom>
            <a:ln>
              <a:solidFill>
                <a:srgbClr val="FF0000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Arrow Connector 11"/>
            <p:cNvCxnSpPr/>
            <p:nvPr/>
          </p:nvCxnSpPr>
          <p:spPr>
            <a:xfrm flipV="1">
              <a:off x="3962400" y="2211388"/>
              <a:ext cx="304800" cy="150812"/>
            </a:xfrm>
            <a:prstGeom prst="straightConnector1">
              <a:avLst/>
            </a:prstGeom>
            <a:ln>
              <a:solidFill>
                <a:srgbClr val="FF0000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Arrow Connector 12"/>
            <p:cNvCxnSpPr/>
            <p:nvPr/>
          </p:nvCxnSpPr>
          <p:spPr>
            <a:xfrm flipV="1">
              <a:off x="4800600" y="2667000"/>
              <a:ext cx="533400" cy="152400"/>
            </a:xfrm>
            <a:prstGeom prst="straightConnector1">
              <a:avLst/>
            </a:prstGeom>
            <a:ln>
              <a:solidFill>
                <a:srgbClr val="FF0000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Arrow Connector 13"/>
            <p:cNvCxnSpPr/>
            <p:nvPr/>
          </p:nvCxnSpPr>
          <p:spPr>
            <a:xfrm rot="5400000" flipH="1" flipV="1">
              <a:off x="4458494" y="2626519"/>
              <a:ext cx="227013" cy="3175"/>
            </a:xfrm>
            <a:prstGeom prst="straightConnector1">
              <a:avLst/>
            </a:prstGeom>
            <a:ln>
              <a:solidFill>
                <a:srgbClr val="FF0000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Arrow Connector 14"/>
            <p:cNvCxnSpPr/>
            <p:nvPr/>
          </p:nvCxnSpPr>
          <p:spPr>
            <a:xfrm>
              <a:off x="3657600" y="2436813"/>
              <a:ext cx="228600" cy="153987"/>
            </a:xfrm>
            <a:prstGeom prst="straightConnector1">
              <a:avLst/>
            </a:prstGeom>
            <a:ln>
              <a:solidFill>
                <a:srgbClr val="FF0000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Arrow Connector 15"/>
            <p:cNvCxnSpPr/>
            <p:nvPr/>
          </p:nvCxnSpPr>
          <p:spPr>
            <a:xfrm rot="5400000" flipH="1" flipV="1">
              <a:off x="2895600" y="2057400"/>
              <a:ext cx="152400" cy="152400"/>
            </a:xfrm>
            <a:prstGeom prst="straightConnector1">
              <a:avLst/>
            </a:prstGeom>
            <a:ln>
              <a:solidFill>
                <a:srgbClr val="FF0000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Arrow Connector 16"/>
            <p:cNvCxnSpPr/>
            <p:nvPr/>
          </p:nvCxnSpPr>
          <p:spPr>
            <a:xfrm rot="16200000" flipV="1">
              <a:off x="4152900" y="4305300"/>
              <a:ext cx="228600" cy="152400"/>
            </a:xfrm>
            <a:prstGeom prst="straightConnector1">
              <a:avLst/>
            </a:prstGeom>
            <a:ln>
              <a:solidFill>
                <a:srgbClr val="FF0000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Arrow Connector 17"/>
            <p:cNvCxnSpPr/>
            <p:nvPr/>
          </p:nvCxnSpPr>
          <p:spPr>
            <a:xfrm flipV="1">
              <a:off x="4114800" y="3657600"/>
              <a:ext cx="228600" cy="76200"/>
            </a:xfrm>
            <a:prstGeom prst="straightConnector1">
              <a:avLst/>
            </a:prstGeom>
            <a:ln>
              <a:solidFill>
                <a:srgbClr val="FF0000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Arrow Connector 18"/>
            <p:cNvCxnSpPr/>
            <p:nvPr/>
          </p:nvCxnSpPr>
          <p:spPr>
            <a:xfrm flipV="1">
              <a:off x="4191000" y="4724400"/>
              <a:ext cx="304800" cy="152400"/>
            </a:xfrm>
            <a:prstGeom prst="straightConnector1">
              <a:avLst/>
            </a:prstGeom>
            <a:ln>
              <a:solidFill>
                <a:srgbClr val="FF0000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Arrow Connector 19"/>
            <p:cNvCxnSpPr/>
            <p:nvPr/>
          </p:nvCxnSpPr>
          <p:spPr>
            <a:xfrm>
              <a:off x="4648200" y="5334000"/>
              <a:ext cx="381000" cy="304800"/>
            </a:xfrm>
            <a:prstGeom prst="straightConnector1">
              <a:avLst/>
            </a:prstGeom>
            <a:ln>
              <a:solidFill>
                <a:srgbClr val="FF0000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Arrow Connector 20"/>
            <p:cNvCxnSpPr/>
            <p:nvPr/>
          </p:nvCxnSpPr>
          <p:spPr>
            <a:xfrm rot="5400000">
              <a:off x="3962400" y="838200"/>
              <a:ext cx="381000" cy="228600"/>
            </a:xfrm>
            <a:prstGeom prst="straightConnector1">
              <a:avLst/>
            </a:prstGeom>
            <a:ln>
              <a:solidFill>
                <a:srgbClr val="FF0000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Arrow Connector 21"/>
            <p:cNvCxnSpPr/>
            <p:nvPr/>
          </p:nvCxnSpPr>
          <p:spPr>
            <a:xfrm rot="5400000">
              <a:off x="4724400" y="3581400"/>
              <a:ext cx="228600" cy="76200"/>
            </a:xfrm>
            <a:prstGeom prst="straightConnector1">
              <a:avLst/>
            </a:prstGeom>
            <a:ln>
              <a:solidFill>
                <a:srgbClr val="FF0000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Arrow Connector 22"/>
            <p:cNvCxnSpPr/>
            <p:nvPr/>
          </p:nvCxnSpPr>
          <p:spPr>
            <a:xfrm rot="5400000" flipH="1" flipV="1">
              <a:off x="4304507" y="2704306"/>
              <a:ext cx="228600" cy="1587"/>
            </a:xfrm>
            <a:prstGeom prst="straightConnector1">
              <a:avLst/>
            </a:prstGeom>
            <a:ln>
              <a:solidFill>
                <a:srgbClr val="FF0000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Arrow Connector 23"/>
            <p:cNvCxnSpPr/>
            <p:nvPr/>
          </p:nvCxnSpPr>
          <p:spPr>
            <a:xfrm rot="5400000">
              <a:off x="5029200" y="5105400"/>
              <a:ext cx="457200" cy="304800"/>
            </a:xfrm>
            <a:prstGeom prst="straightConnector1">
              <a:avLst/>
            </a:prstGeom>
            <a:ln>
              <a:solidFill>
                <a:srgbClr val="FF0000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Arrow Connector 24"/>
            <p:cNvCxnSpPr/>
            <p:nvPr/>
          </p:nvCxnSpPr>
          <p:spPr>
            <a:xfrm flipV="1">
              <a:off x="5334000" y="2590800"/>
              <a:ext cx="762000" cy="150813"/>
            </a:xfrm>
            <a:prstGeom prst="straightConnector1">
              <a:avLst/>
            </a:prstGeom>
            <a:ln>
              <a:solidFill>
                <a:srgbClr val="FF0000"/>
              </a:solidFill>
              <a:headEnd type="arrow"/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Arrow Connector 25"/>
            <p:cNvCxnSpPr/>
            <p:nvPr/>
          </p:nvCxnSpPr>
          <p:spPr>
            <a:xfrm rot="5400000">
              <a:off x="4267200" y="3200400"/>
              <a:ext cx="228600" cy="76200"/>
            </a:xfrm>
            <a:prstGeom prst="straightConnector1">
              <a:avLst/>
            </a:prstGeom>
            <a:ln>
              <a:solidFill>
                <a:srgbClr val="FF0000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Arrow Connector 26"/>
            <p:cNvCxnSpPr/>
            <p:nvPr/>
          </p:nvCxnSpPr>
          <p:spPr>
            <a:xfrm rot="10800000" flipV="1">
              <a:off x="4495800" y="3200400"/>
              <a:ext cx="228600" cy="152400"/>
            </a:xfrm>
            <a:prstGeom prst="straightConnector1">
              <a:avLst/>
            </a:prstGeom>
            <a:ln>
              <a:solidFill>
                <a:srgbClr val="FF0000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Arrow Connector 27"/>
            <p:cNvCxnSpPr/>
            <p:nvPr/>
          </p:nvCxnSpPr>
          <p:spPr>
            <a:xfrm rot="10800000" flipV="1">
              <a:off x="5105400" y="4953000"/>
              <a:ext cx="2438400" cy="762000"/>
            </a:xfrm>
            <a:prstGeom prst="straightConnector1">
              <a:avLst/>
            </a:prstGeom>
            <a:ln>
              <a:solidFill>
                <a:srgbClr val="FF0000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Arrow Connector 28"/>
            <p:cNvCxnSpPr/>
            <p:nvPr/>
          </p:nvCxnSpPr>
          <p:spPr>
            <a:xfrm rot="10800000" flipV="1">
              <a:off x="5105400" y="5029200"/>
              <a:ext cx="1143000" cy="533400"/>
            </a:xfrm>
            <a:prstGeom prst="straightConnector1">
              <a:avLst/>
            </a:prstGeom>
            <a:ln>
              <a:solidFill>
                <a:srgbClr val="FF0000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Arrow Connector 29"/>
            <p:cNvCxnSpPr/>
            <p:nvPr/>
          </p:nvCxnSpPr>
          <p:spPr>
            <a:xfrm rot="5400000" flipH="1" flipV="1">
              <a:off x="2590800" y="2133600"/>
              <a:ext cx="152400" cy="152400"/>
            </a:xfrm>
            <a:prstGeom prst="straightConnector1">
              <a:avLst/>
            </a:prstGeom>
            <a:ln>
              <a:solidFill>
                <a:srgbClr val="FF0000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Arrow Connector 30"/>
            <p:cNvCxnSpPr/>
            <p:nvPr/>
          </p:nvCxnSpPr>
          <p:spPr>
            <a:xfrm>
              <a:off x="3124200" y="2667000"/>
              <a:ext cx="609600" cy="152400"/>
            </a:xfrm>
            <a:prstGeom prst="straightConnector1">
              <a:avLst/>
            </a:prstGeom>
            <a:ln>
              <a:solidFill>
                <a:srgbClr val="FF0000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0588066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….FACILITATED BY ROAD NETWORKS</a:t>
            </a:r>
            <a:endParaRPr lang="en-GB" dirty="0"/>
          </a:p>
        </p:txBody>
      </p:sp>
      <p:pic>
        <p:nvPicPr>
          <p:cNvPr id="4" name="Picture 2" descr="Asian_Highways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4136" y="908720"/>
            <a:ext cx="6804248" cy="55429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8220412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ND ARE EVOLVING FROM THIS…</a:t>
            </a:r>
            <a:endParaRPr lang="en-GB" dirty="0"/>
          </a:p>
        </p:txBody>
      </p:sp>
      <p:pic>
        <p:nvPicPr>
          <p:cNvPr id="4" name="Picture 11" descr="IMG_0581"/>
          <p:cNvPicPr>
            <a:picLocks noChangeAspect="1" noChangeArrowheads="1"/>
          </p:cNvPicPr>
          <p:nvPr/>
        </p:nvPicPr>
        <p:blipFill>
          <a:blip r:embed="rId2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584" y="980728"/>
            <a:ext cx="7236296" cy="5425966"/>
          </a:xfrm>
          <a:prstGeom prst="rect">
            <a:avLst/>
          </a:prstGeom>
          <a:noFill/>
          <a:ln w="254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8220412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….TO THIS</a:t>
            </a:r>
            <a:endParaRPr lang="en-GB" dirty="0"/>
          </a:p>
        </p:txBody>
      </p:sp>
      <p:pic>
        <p:nvPicPr>
          <p:cNvPr id="3074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61" y="1340767"/>
            <a:ext cx="7865488" cy="42604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3293772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Grp="1" noChangeAspect="1" noChangeArrowheads="1"/>
          </p:cNvPicPr>
          <p:nvPr>
            <p:ph idx="1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430"/>
          <a:stretch/>
        </p:blipFill>
        <p:spPr bwMode="auto">
          <a:xfrm>
            <a:off x="2337012" y="2492896"/>
            <a:ext cx="4469976" cy="28017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1331640" y="1052736"/>
            <a:ext cx="648072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3200" b="1" dirty="0" smtClean="0"/>
              <a:t>WILDLIFE CRIME IN ASIA ONLY AFFECTS A FEW SPECIES….</a:t>
            </a:r>
            <a:endParaRPr lang="en-GB" sz="3200" b="1" dirty="0"/>
          </a:p>
        </p:txBody>
      </p:sp>
    </p:spTree>
    <p:extLst>
      <p:ext uri="{BB962C8B-B14F-4D97-AF65-F5344CB8AC3E}">
        <p14:creationId xmlns:p14="http://schemas.microsoft.com/office/powerpoint/2010/main" val="1099621777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9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10" dur="500"/>
                                        <p:tgtEl>
                                          <p:spTgt spid="409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/>
        </p:nvGrpSpPr>
        <p:grpSpPr>
          <a:xfrm>
            <a:off x="497723" y="1951854"/>
            <a:ext cx="7962709" cy="4429474"/>
            <a:chOff x="65675" y="133475"/>
            <a:chExt cx="8953456" cy="4844679"/>
          </a:xfrm>
        </p:grpSpPr>
        <p:pic>
          <p:nvPicPr>
            <p:cNvPr id="5" name="Picture 2" descr="tiger_Freedigitalphotosnet.jpg"/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675" y="133475"/>
              <a:ext cx="2120900" cy="2749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" name="Picture 1" descr="Black Shanked Cover.jpg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12134" y="139825"/>
              <a:ext cx="1989138" cy="2743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" name="Picture 23" descr="three striped box turtle 1"/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35174" y="139825"/>
              <a:ext cx="2139117" cy="12299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" name="Picture 84" descr="csiamensis"/>
            <p:cNvPicPr>
              <a:picLocks noChangeAspect="1" noChangeArrowheads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35174" y="1477427"/>
              <a:ext cx="2103515" cy="14055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" name="Picture 8"/>
            <p:cNvPicPr>
              <a:picLocks noChangeAspect="1"/>
            </p:cNvPicPr>
            <p:nvPr/>
          </p:nvPicPr>
          <p:blipFill rotWithShape="1">
            <a:blip r:embed="rId6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6687315" y="139825"/>
              <a:ext cx="2331816" cy="2753794"/>
            </a:xfrm>
            <a:prstGeom prst="rect">
              <a:avLst/>
            </a:prstGeom>
          </p:spPr>
        </p:pic>
        <p:pic>
          <p:nvPicPr>
            <p:cNvPr id="10" name="Picture 2" descr="DSC02628.JPG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0840" y="2996954"/>
              <a:ext cx="2641600" cy="1981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" name="Picture 6" descr="DSC02682.JPG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87914" y="2996954"/>
              <a:ext cx="2641600" cy="1981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2" name="Picture 11" descr="images1696044_2.jpg"/>
            <p:cNvPicPr>
              <a:picLocks noChangeAspect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6200000">
              <a:off x="6352492" y="2635384"/>
              <a:ext cx="1981200" cy="2704338"/>
            </a:xfrm>
            <a:prstGeom prst="rect">
              <a:avLst/>
            </a:prstGeom>
          </p:spPr>
        </p:pic>
      </p:grpSp>
      <p:sp>
        <p:nvSpPr>
          <p:cNvPr id="15" name="TextBox 14"/>
          <p:cNvSpPr txBox="1"/>
          <p:nvPr/>
        </p:nvSpPr>
        <p:spPr>
          <a:xfrm>
            <a:off x="179512" y="836712"/>
            <a:ext cx="8280919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dirty="0" smtClean="0"/>
              <a:t>A huge variety of species are traded in SE Asia, from every species group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dirty="0"/>
              <a:t>1/3</a:t>
            </a:r>
            <a:r>
              <a:rPr lang="en-GB" sz="2000" baseline="30000" dirty="0"/>
              <a:t>rd</a:t>
            </a:r>
            <a:r>
              <a:rPr lang="en-GB" sz="2000" dirty="0"/>
              <a:t> of all bird species, and thousands of mammal and reptile species are globally traded (</a:t>
            </a:r>
            <a:r>
              <a:rPr lang="en-GB" sz="2000" dirty="0" err="1"/>
              <a:t>Nijman</a:t>
            </a:r>
            <a:r>
              <a:rPr lang="en-GB" sz="2000" dirty="0"/>
              <a:t>, 2010)</a:t>
            </a:r>
          </a:p>
          <a:p>
            <a:r>
              <a:rPr lang="en-GB" dirty="0" smtClean="0"/>
              <a:t>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4267109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Lhasa_otter_skins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7632" y="836712"/>
            <a:ext cx="7318784" cy="5144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16"/>
          <p:cNvSpPr>
            <a:spLocks noChangeArrowheads="1"/>
          </p:cNvSpPr>
          <p:nvPr/>
        </p:nvSpPr>
        <p:spPr bwMode="auto">
          <a:xfrm>
            <a:off x="827584" y="6079068"/>
            <a:ext cx="7848872" cy="446276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9pPr>
          </a:lstStyle>
          <a:p>
            <a:pPr eaLnBrk="1" hangingPunct="1"/>
            <a:r>
              <a:rPr lang="en-GB" altLang="en-US" sz="2300" dirty="0" smtClean="0">
                <a:solidFill>
                  <a:srgbClr val="000000"/>
                </a:solidFill>
                <a:latin typeface="+mj-lt"/>
              </a:rPr>
              <a:t>China (2003) - 31 </a:t>
            </a:r>
            <a:r>
              <a:rPr lang="en-GB" altLang="en-US" sz="2300" dirty="0">
                <a:solidFill>
                  <a:srgbClr val="000000"/>
                </a:solidFill>
                <a:latin typeface="+mj-lt"/>
              </a:rPr>
              <a:t>Tigers, 581 </a:t>
            </a:r>
            <a:r>
              <a:rPr lang="en-GB" altLang="en-US" sz="2300" dirty="0" smtClean="0">
                <a:solidFill>
                  <a:srgbClr val="000000"/>
                </a:solidFill>
                <a:latin typeface="+mj-lt"/>
              </a:rPr>
              <a:t>Leopards, 778 </a:t>
            </a:r>
            <a:r>
              <a:rPr lang="en-GB" altLang="en-US" sz="2300" dirty="0">
                <a:solidFill>
                  <a:srgbClr val="000000"/>
                </a:solidFill>
                <a:latin typeface="+mj-lt"/>
              </a:rPr>
              <a:t>Otters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534400" cy="523875"/>
          </a:xfrm>
        </p:spPr>
        <p:txBody>
          <a:bodyPr/>
          <a:lstStyle/>
          <a:p>
            <a:r>
              <a:rPr lang="en-GB" dirty="0" smtClean="0"/>
              <a:t>…On an industrial sca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7228130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980728"/>
            <a:ext cx="8208912" cy="5475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8665971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Grp="1" noChangeAspect="1" noChangeArrowheads="1"/>
          </p:cNvPicPr>
          <p:nvPr>
            <p:ph idx="1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430"/>
          <a:stretch/>
        </p:blipFill>
        <p:spPr bwMode="auto">
          <a:xfrm>
            <a:off x="2339752" y="3140968"/>
            <a:ext cx="4469976" cy="28017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611560" y="1124744"/>
            <a:ext cx="792088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3200" b="1" dirty="0" smtClean="0"/>
              <a:t>POACHERS FOR THE INTERNATIONAL TRADE ARE POOR PEOPLE TRYING TO MAKE A LIVING</a:t>
            </a:r>
            <a:endParaRPr lang="en-GB" sz="3200" b="1" dirty="0"/>
          </a:p>
        </p:txBody>
      </p:sp>
    </p:spTree>
    <p:extLst>
      <p:ext uri="{BB962C8B-B14F-4D97-AF65-F5344CB8AC3E}">
        <p14:creationId xmlns:p14="http://schemas.microsoft.com/office/powerpoint/2010/main" val="4050566864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9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10" dur="500"/>
                                        <p:tgtEl>
                                          <p:spTgt spid="409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 modern (illegal) supply chain</a:t>
            </a:r>
            <a:endParaRPr lang="en-GB" dirty="0"/>
          </a:p>
        </p:txBody>
      </p:sp>
      <p:pic>
        <p:nvPicPr>
          <p:cNvPr id="13314" name="Picture 2"/>
          <p:cNvPicPr>
            <a:picLocks noGrp="1" noChangeAspect="1" noChangeArrowheads="1"/>
          </p:cNvPicPr>
          <p:nvPr>
            <p:ph idx="1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796136" y="2420888"/>
            <a:ext cx="2955301" cy="28479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6" name="Group 15"/>
          <p:cNvGrpSpPr/>
          <p:nvPr/>
        </p:nvGrpSpPr>
        <p:grpSpPr>
          <a:xfrm>
            <a:off x="107504" y="836712"/>
            <a:ext cx="5062331" cy="2834928"/>
            <a:chOff x="107504" y="1301164"/>
            <a:chExt cx="5062331" cy="2834928"/>
          </a:xfrm>
        </p:grpSpPr>
        <p:pic>
          <p:nvPicPr>
            <p:cNvPr id="5" name="Picture 3" descr="wire snares.jpg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2195736" y="1301164"/>
              <a:ext cx="2974099" cy="28349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" name="Picture 4" descr="huting guns.jpg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7504" y="1301164"/>
              <a:ext cx="2126196" cy="28349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7" name="Picture 6" descr="DSC00468.JP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16522" y="4005064"/>
            <a:ext cx="3418414" cy="2563811"/>
          </a:xfrm>
          <a:prstGeom prst="rect">
            <a:avLst/>
          </a:prstGeom>
        </p:spPr>
      </p:pic>
      <p:cxnSp>
        <p:nvCxnSpPr>
          <p:cNvPr id="11" name="Straight Arrow Connector 10"/>
          <p:cNvCxnSpPr/>
          <p:nvPr/>
        </p:nvCxnSpPr>
        <p:spPr>
          <a:xfrm flipH="1">
            <a:off x="5140647" y="4768335"/>
            <a:ext cx="655489" cy="0"/>
          </a:xfrm>
          <a:prstGeom prst="straightConnector1">
            <a:avLst/>
          </a:prstGeom>
          <a:ln w="508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/>
        </p:nvCxnSpPr>
        <p:spPr>
          <a:xfrm>
            <a:off x="5148064" y="2712134"/>
            <a:ext cx="648072" cy="6494"/>
          </a:xfrm>
          <a:prstGeom prst="straightConnector1">
            <a:avLst/>
          </a:prstGeom>
          <a:ln w="508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6928580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What are we going to do?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501650" indent="-457200">
              <a:buFont typeface="+mj-lt"/>
              <a:buAutoNum type="arabicPeriod"/>
            </a:pPr>
            <a:endParaRPr lang="en-GB" sz="2400" dirty="0" smtClean="0"/>
          </a:p>
          <a:p>
            <a:pPr marL="501650" indent="-457200">
              <a:buFont typeface="+mj-lt"/>
              <a:buAutoNum type="arabicPeriod"/>
            </a:pPr>
            <a:r>
              <a:rPr lang="en-GB" sz="2400" dirty="0" smtClean="0"/>
              <a:t>Test a few myths about wildlife crime, and describe global, national, and local trends.</a:t>
            </a:r>
          </a:p>
          <a:p>
            <a:pPr marL="501650" indent="-457200">
              <a:buFont typeface="+mj-lt"/>
              <a:buAutoNum type="arabicPeriod"/>
            </a:pPr>
            <a:endParaRPr lang="en-GB" sz="2400" dirty="0" smtClean="0"/>
          </a:p>
          <a:p>
            <a:pPr marL="501650" indent="-457200">
              <a:buFont typeface="+mj-lt"/>
              <a:buAutoNum type="arabicPeriod"/>
            </a:pPr>
            <a:r>
              <a:rPr lang="en-GB" sz="2400" dirty="0" smtClean="0"/>
              <a:t>Talk about some research findings, challenges and opportunities</a:t>
            </a:r>
          </a:p>
          <a:p>
            <a:pPr marL="501650" indent="-457200">
              <a:buFont typeface="+mj-lt"/>
              <a:buAutoNum type="arabicPeriod"/>
            </a:pPr>
            <a:endParaRPr lang="en-GB" sz="2400" dirty="0" smtClean="0"/>
          </a:p>
          <a:p>
            <a:pPr marL="501650" indent="-457200">
              <a:buFont typeface="+mj-lt"/>
              <a:buAutoNum type="arabicPeriod"/>
            </a:pPr>
            <a:r>
              <a:rPr lang="en-GB" sz="2400" dirty="0" smtClean="0"/>
              <a:t>Propose a few ideas for next steps in Indonesia.</a:t>
            </a:r>
          </a:p>
          <a:p>
            <a:endParaRPr lang="en-GB" sz="2400" dirty="0"/>
          </a:p>
        </p:txBody>
      </p:sp>
    </p:spTree>
    <p:extLst>
      <p:ext uri="{BB962C8B-B14F-4D97-AF65-F5344CB8AC3E}">
        <p14:creationId xmlns:p14="http://schemas.microsoft.com/office/powerpoint/2010/main" val="1921129225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35496" y="-27384"/>
            <a:ext cx="9144000" cy="6858000"/>
            <a:chOff x="0" y="0"/>
            <a:chExt cx="9144000" cy="6858000"/>
          </a:xfrm>
        </p:grpSpPr>
        <p:sp>
          <p:nvSpPr>
            <p:cNvPr id="69" name="Rectangle 68"/>
            <p:cNvSpPr>
              <a:spLocks noChangeArrowheads="1"/>
            </p:cNvSpPr>
            <p:nvPr/>
          </p:nvSpPr>
          <p:spPr bwMode="auto">
            <a:xfrm>
              <a:off x="0" y="0"/>
              <a:ext cx="9144000" cy="685800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rgbClr val="F9F9F9"/>
              </a:solidFill>
              <a:miter lim="800000"/>
              <a:headEnd/>
              <a:tailEnd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>
                <a:defRPr/>
              </a:pPr>
              <a:endParaRPr lang="en-GB">
                <a:solidFill>
                  <a:schemeClr val="lt1"/>
                </a:solidFill>
                <a:latin typeface="+mn-lt"/>
                <a:ea typeface="+mn-ea"/>
              </a:endParaRPr>
            </a:p>
          </p:txBody>
        </p:sp>
        <p:sp>
          <p:nvSpPr>
            <p:cNvPr id="31747" name="Rectangle 3"/>
            <p:cNvSpPr>
              <a:spLocks noChangeArrowheads="1"/>
            </p:cNvSpPr>
            <p:nvPr/>
          </p:nvSpPr>
          <p:spPr bwMode="auto">
            <a:xfrm>
              <a:off x="76200" y="2057400"/>
              <a:ext cx="914400" cy="646331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9pPr>
            </a:lstStyle>
            <a:p>
              <a:pPr algn="ctr" eaLnBrk="1" hangingPunct="1"/>
              <a:r>
                <a:rPr lang="en-US" altLang="en-US" sz="1200" dirty="0">
                  <a:latin typeface="Calibri" pitchFamily="-112" charset="0"/>
                </a:rPr>
                <a:t>Wildlife in </a:t>
              </a:r>
              <a:r>
                <a:rPr lang="en-US" altLang="en-US" sz="1200" dirty="0" smtClean="0">
                  <a:latin typeface="Calibri" pitchFamily="-112" charset="0"/>
                </a:rPr>
                <a:t>Indonesia's forests</a:t>
              </a:r>
              <a:endParaRPr lang="en-US" altLang="en-US" sz="1200" dirty="0">
                <a:latin typeface="Calibri" pitchFamily="-112" charset="0"/>
              </a:endParaRPr>
            </a:p>
          </p:txBody>
        </p:sp>
        <p:sp>
          <p:nvSpPr>
            <p:cNvPr id="31748" name="Rectangle 4"/>
            <p:cNvSpPr>
              <a:spLocks noChangeArrowheads="1"/>
            </p:cNvSpPr>
            <p:nvPr/>
          </p:nvSpPr>
          <p:spPr bwMode="auto">
            <a:xfrm>
              <a:off x="76200" y="3352800"/>
              <a:ext cx="914400" cy="83185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9pPr>
            </a:lstStyle>
            <a:p>
              <a:pPr algn="ctr" eaLnBrk="1" hangingPunct="1"/>
              <a:r>
                <a:rPr lang="en-US" altLang="en-US" sz="1200">
                  <a:latin typeface="Calibri" pitchFamily="-112" charset="0"/>
                </a:rPr>
                <a:t>Wildlife in forests of other countries</a:t>
              </a:r>
            </a:p>
          </p:txBody>
        </p:sp>
        <p:sp>
          <p:nvSpPr>
            <p:cNvPr id="31749" name="Rectangle 6"/>
            <p:cNvSpPr>
              <a:spLocks noChangeArrowheads="1"/>
            </p:cNvSpPr>
            <p:nvPr/>
          </p:nvSpPr>
          <p:spPr bwMode="auto">
            <a:xfrm>
              <a:off x="1371600" y="1252538"/>
              <a:ext cx="838200" cy="892175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9pPr>
            </a:lstStyle>
            <a:p>
              <a:pPr algn="ctr" eaLnBrk="1" hangingPunct="1"/>
              <a:endParaRPr lang="en-US" altLang="en-US" sz="1300" b="1" dirty="0">
                <a:latin typeface="Calibri" pitchFamily="-112" charset="0"/>
              </a:endParaRPr>
            </a:p>
            <a:p>
              <a:pPr algn="ctr" eaLnBrk="1" hangingPunct="1"/>
              <a:r>
                <a:rPr lang="en-US" altLang="en-US" sz="1300" b="1" dirty="0">
                  <a:latin typeface="Calibri" pitchFamily="-112" charset="0"/>
                </a:rPr>
                <a:t>National hunters</a:t>
              </a:r>
            </a:p>
            <a:p>
              <a:pPr algn="ctr" eaLnBrk="1" hangingPunct="1"/>
              <a:endParaRPr lang="en-US" altLang="en-US" sz="1300" b="1" dirty="0">
                <a:latin typeface="Calibri" pitchFamily="-112" charset="0"/>
              </a:endParaRPr>
            </a:p>
          </p:txBody>
        </p:sp>
        <p:sp>
          <p:nvSpPr>
            <p:cNvPr id="31750" name="Rectangle 7"/>
            <p:cNvSpPr>
              <a:spLocks noChangeArrowheads="1"/>
            </p:cNvSpPr>
            <p:nvPr/>
          </p:nvSpPr>
          <p:spPr bwMode="auto">
            <a:xfrm>
              <a:off x="1371600" y="4640263"/>
              <a:ext cx="838200" cy="1093787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anchor="ctr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9pPr>
            </a:lstStyle>
            <a:p>
              <a:pPr algn="ctr" eaLnBrk="1" hangingPunct="1"/>
              <a:endParaRPr lang="en-US" altLang="en-US" sz="1300" b="1">
                <a:latin typeface="Calibri" pitchFamily="-112" charset="0"/>
              </a:endParaRPr>
            </a:p>
            <a:p>
              <a:pPr algn="ctr" eaLnBrk="1" hangingPunct="1"/>
              <a:r>
                <a:rPr lang="en-US" altLang="en-US" sz="1300" b="1">
                  <a:latin typeface="Calibri" pitchFamily="-112" charset="0"/>
                </a:rPr>
                <a:t>Hunters in other countries</a:t>
              </a:r>
            </a:p>
            <a:p>
              <a:pPr algn="ctr" eaLnBrk="1" hangingPunct="1"/>
              <a:endParaRPr lang="en-US" altLang="en-US" sz="1300" b="1">
                <a:latin typeface="Calibri" pitchFamily="-112" charset="0"/>
              </a:endParaRPr>
            </a:p>
          </p:txBody>
        </p:sp>
        <p:sp>
          <p:nvSpPr>
            <p:cNvPr id="31751" name="Rectangle 9"/>
            <p:cNvSpPr>
              <a:spLocks noChangeArrowheads="1"/>
            </p:cNvSpPr>
            <p:nvPr/>
          </p:nvSpPr>
          <p:spPr bwMode="auto">
            <a:xfrm>
              <a:off x="4162425" y="2779713"/>
              <a:ext cx="788988" cy="846137"/>
            </a:xfrm>
            <a:prstGeom prst="rect">
              <a:avLst/>
            </a:prstGeom>
            <a:solidFill>
              <a:srgbClr val="FFCC0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9pPr>
            </a:lstStyle>
            <a:p>
              <a:pPr algn="ctr" eaLnBrk="1" hangingPunct="1"/>
              <a:endParaRPr lang="en-GB" altLang="en-US" sz="1400" b="1">
                <a:latin typeface="Calibri" pitchFamily="-112" charset="0"/>
              </a:endParaRPr>
            </a:p>
          </p:txBody>
        </p:sp>
        <p:cxnSp>
          <p:nvCxnSpPr>
            <p:cNvPr id="31752" name="AutoShape 33"/>
            <p:cNvCxnSpPr>
              <a:cxnSpLocks noChangeShapeType="1"/>
              <a:stCxn id="31750" idx="3"/>
              <a:endCxn id="108" idx="1"/>
            </p:cNvCxnSpPr>
            <p:nvPr/>
          </p:nvCxnSpPr>
          <p:spPr bwMode="auto">
            <a:xfrm flipV="1">
              <a:off x="2209800" y="3048000"/>
              <a:ext cx="490538" cy="2138363"/>
            </a:xfrm>
            <a:prstGeom prst="bentConnector3">
              <a:avLst>
                <a:gd name="adj1" fmla="val 50000"/>
              </a:avLst>
            </a:prstGeom>
            <a:noFill/>
            <a:ln w="47625">
              <a:solidFill>
                <a:schemeClr val="tx1"/>
              </a:solidFill>
              <a:miter lim="800000"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1753" name="AutoShape 34"/>
            <p:cNvCxnSpPr>
              <a:cxnSpLocks noChangeShapeType="1"/>
              <a:stCxn id="31749" idx="3"/>
              <a:endCxn id="108" idx="1"/>
            </p:cNvCxnSpPr>
            <p:nvPr/>
          </p:nvCxnSpPr>
          <p:spPr bwMode="auto">
            <a:xfrm>
              <a:off x="2209800" y="1698625"/>
              <a:ext cx="490538" cy="1349375"/>
            </a:xfrm>
            <a:prstGeom prst="bentConnector3">
              <a:avLst>
                <a:gd name="adj1" fmla="val 50000"/>
              </a:avLst>
            </a:prstGeom>
            <a:noFill/>
            <a:ln w="47625">
              <a:solidFill>
                <a:schemeClr val="tx1"/>
              </a:solidFill>
              <a:miter lim="800000"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31754" name="Rectangle 9"/>
            <p:cNvSpPr>
              <a:spLocks noChangeArrowheads="1"/>
            </p:cNvSpPr>
            <p:nvPr/>
          </p:nvSpPr>
          <p:spPr bwMode="auto">
            <a:xfrm>
              <a:off x="2790825" y="1828800"/>
              <a:ext cx="336550" cy="336550"/>
            </a:xfrm>
            <a:prstGeom prst="rect">
              <a:avLst/>
            </a:prstGeom>
            <a:solidFill>
              <a:srgbClr val="FFCC0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9pPr>
            </a:lstStyle>
            <a:p>
              <a:pPr eaLnBrk="1" hangingPunct="1"/>
              <a:endParaRPr lang="en-GB" altLang="en-US" sz="1800">
                <a:latin typeface="Calibri" pitchFamily="-112" charset="0"/>
              </a:endParaRPr>
            </a:p>
          </p:txBody>
        </p:sp>
        <p:sp>
          <p:nvSpPr>
            <p:cNvPr id="31755" name="Rectangle 9"/>
            <p:cNvSpPr>
              <a:spLocks noChangeArrowheads="1"/>
            </p:cNvSpPr>
            <p:nvPr/>
          </p:nvSpPr>
          <p:spPr bwMode="auto">
            <a:xfrm>
              <a:off x="2790825" y="3581400"/>
              <a:ext cx="336550" cy="336550"/>
            </a:xfrm>
            <a:prstGeom prst="rect">
              <a:avLst/>
            </a:prstGeom>
            <a:solidFill>
              <a:srgbClr val="FFCC0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9pPr>
            </a:lstStyle>
            <a:p>
              <a:pPr eaLnBrk="1" hangingPunct="1"/>
              <a:endParaRPr lang="en-GB" altLang="en-US" sz="1800">
                <a:latin typeface="Calibri" pitchFamily="-112" charset="0"/>
              </a:endParaRPr>
            </a:p>
          </p:txBody>
        </p:sp>
        <p:sp>
          <p:nvSpPr>
            <p:cNvPr id="31756" name="Rectangle 9"/>
            <p:cNvSpPr>
              <a:spLocks noChangeArrowheads="1"/>
            </p:cNvSpPr>
            <p:nvPr/>
          </p:nvSpPr>
          <p:spPr bwMode="auto">
            <a:xfrm>
              <a:off x="2790825" y="2667000"/>
              <a:ext cx="336550" cy="336550"/>
            </a:xfrm>
            <a:prstGeom prst="rect">
              <a:avLst/>
            </a:prstGeom>
            <a:solidFill>
              <a:srgbClr val="FFCC0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9pPr>
            </a:lstStyle>
            <a:p>
              <a:pPr eaLnBrk="1" hangingPunct="1"/>
              <a:endParaRPr lang="en-GB" altLang="en-US" sz="1800">
                <a:latin typeface="Calibri" pitchFamily="-112" charset="0"/>
              </a:endParaRPr>
            </a:p>
          </p:txBody>
        </p:sp>
        <p:sp>
          <p:nvSpPr>
            <p:cNvPr id="31757" name="Rectangle 9"/>
            <p:cNvSpPr>
              <a:spLocks noChangeArrowheads="1"/>
            </p:cNvSpPr>
            <p:nvPr/>
          </p:nvSpPr>
          <p:spPr bwMode="auto">
            <a:xfrm>
              <a:off x="2790825" y="4343400"/>
              <a:ext cx="336550" cy="336550"/>
            </a:xfrm>
            <a:prstGeom prst="rect">
              <a:avLst/>
            </a:prstGeom>
            <a:solidFill>
              <a:srgbClr val="FFCC0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9pPr>
            </a:lstStyle>
            <a:p>
              <a:pPr eaLnBrk="1" hangingPunct="1"/>
              <a:endParaRPr lang="en-GB" altLang="en-US" sz="1800">
                <a:latin typeface="Calibri" pitchFamily="-112" charset="0"/>
              </a:endParaRPr>
            </a:p>
          </p:txBody>
        </p:sp>
        <p:sp>
          <p:nvSpPr>
            <p:cNvPr id="31758" name="Rectangle 9"/>
            <p:cNvSpPr>
              <a:spLocks noChangeArrowheads="1"/>
            </p:cNvSpPr>
            <p:nvPr/>
          </p:nvSpPr>
          <p:spPr bwMode="auto">
            <a:xfrm>
              <a:off x="3386138" y="2057400"/>
              <a:ext cx="609600" cy="533400"/>
            </a:xfrm>
            <a:prstGeom prst="rect">
              <a:avLst/>
            </a:prstGeom>
            <a:solidFill>
              <a:srgbClr val="FFCC0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9pPr>
            </a:lstStyle>
            <a:p>
              <a:pPr eaLnBrk="1" hangingPunct="1"/>
              <a:endParaRPr lang="en-GB" altLang="en-US" sz="1800">
                <a:latin typeface="Calibri" pitchFamily="-112" charset="0"/>
              </a:endParaRPr>
            </a:p>
          </p:txBody>
        </p:sp>
        <p:cxnSp>
          <p:nvCxnSpPr>
            <p:cNvPr id="31759" name="AutoShape 30"/>
            <p:cNvCxnSpPr>
              <a:cxnSpLocks noChangeShapeType="1"/>
            </p:cNvCxnSpPr>
            <p:nvPr/>
          </p:nvCxnSpPr>
          <p:spPr bwMode="auto">
            <a:xfrm rot="16200000" flipH="1">
              <a:off x="3099594" y="2913857"/>
              <a:ext cx="344487" cy="228600"/>
            </a:xfrm>
            <a:prstGeom prst="straightConnector1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1760" name="AutoShape 30"/>
            <p:cNvCxnSpPr>
              <a:cxnSpLocks noChangeShapeType="1"/>
            </p:cNvCxnSpPr>
            <p:nvPr/>
          </p:nvCxnSpPr>
          <p:spPr bwMode="auto">
            <a:xfrm rot="5400000" flipH="1" flipV="1">
              <a:off x="3024188" y="2495550"/>
              <a:ext cx="495300" cy="228600"/>
            </a:xfrm>
            <a:prstGeom prst="straightConnector1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1761" name="AutoShape 30"/>
            <p:cNvCxnSpPr>
              <a:cxnSpLocks noChangeShapeType="1"/>
            </p:cNvCxnSpPr>
            <p:nvPr/>
          </p:nvCxnSpPr>
          <p:spPr bwMode="auto">
            <a:xfrm rot="16200000" flipH="1">
              <a:off x="3099594" y="3866357"/>
              <a:ext cx="344487" cy="228600"/>
            </a:xfrm>
            <a:prstGeom prst="straightConnector1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1762" name="AutoShape 30"/>
            <p:cNvCxnSpPr>
              <a:cxnSpLocks noChangeShapeType="1"/>
            </p:cNvCxnSpPr>
            <p:nvPr/>
          </p:nvCxnSpPr>
          <p:spPr bwMode="auto">
            <a:xfrm rot="5400000" flipH="1" flipV="1">
              <a:off x="3062288" y="3448050"/>
              <a:ext cx="419100" cy="228600"/>
            </a:xfrm>
            <a:prstGeom prst="straightConnector1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1763" name="AutoShape 30"/>
            <p:cNvCxnSpPr>
              <a:cxnSpLocks noChangeShapeType="1"/>
            </p:cNvCxnSpPr>
            <p:nvPr/>
          </p:nvCxnSpPr>
          <p:spPr bwMode="auto">
            <a:xfrm flipV="1">
              <a:off x="3157538" y="3390900"/>
              <a:ext cx="990600" cy="342900"/>
            </a:xfrm>
            <a:prstGeom prst="straightConnector1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1764" name="AutoShape 30"/>
            <p:cNvCxnSpPr>
              <a:cxnSpLocks noChangeShapeType="1"/>
            </p:cNvCxnSpPr>
            <p:nvPr/>
          </p:nvCxnSpPr>
          <p:spPr bwMode="auto">
            <a:xfrm>
              <a:off x="3157538" y="2819400"/>
              <a:ext cx="990600" cy="382588"/>
            </a:xfrm>
            <a:prstGeom prst="straightConnector1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pic>
          <p:nvPicPr>
            <p:cNvPr id="31765" name="Picture 90" descr="Man silhouette.svg.med.p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44800" y="1866900"/>
              <a:ext cx="306388" cy="2921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1766" name="Picture 91" descr="Man silhouette.svg.med.p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44800" y="2703513"/>
              <a:ext cx="306388" cy="290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1767" name="Picture 92" descr="Man silhouette.svg.med.p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40038" y="3608388"/>
              <a:ext cx="306387" cy="290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1768" name="Picture 93" descr="Man silhouette.svg.med.p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40038" y="4357688"/>
              <a:ext cx="306387" cy="290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1769" name="Picture 96" descr="Man silhouette.svg.med.png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49638" y="2093913"/>
              <a:ext cx="469900" cy="444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1770" name="Picture 105" descr="Man silhouette.svg.med.png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91000" y="2855913"/>
              <a:ext cx="766763" cy="7254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8" name="Rounded Rectangle 107"/>
            <p:cNvSpPr>
              <a:spLocks noChangeArrowheads="1"/>
            </p:cNvSpPr>
            <p:nvPr/>
          </p:nvSpPr>
          <p:spPr bwMode="auto">
            <a:xfrm>
              <a:off x="2700338" y="1143000"/>
              <a:ext cx="2405062" cy="3810000"/>
            </a:xfrm>
            <a:prstGeom prst="roundRect">
              <a:avLst>
                <a:gd name="adj" fmla="val 16667"/>
              </a:avLst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chemeClr val="lt1"/>
                </a:solidFill>
                <a:latin typeface="+mn-lt"/>
                <a:ea typeface="+mn-ea"/>
              </a:endParaRPr>
            </a:p>
          </p:txBody>
        </p:sp>
        <p:sp>
          <p:nvSpPr>
            <p:cNvPr id="31772" name="TextBox 108"/>
            <p:cNvSpPr txBox="1">
              <a:spLocks noChangeArrowheads="1"/>
            </p:cNvSpPr>
            <p:nvPr/>
          </p:nvSpPr>
          <p:spPr bwMode="auto">
            <a:xfrm>
              <a:off x="2514600" y="1303338"/>
              <a:ext cx="2743200" cy="3079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9pPr>
            </a:lstStyle>
            <a:p>
              <a:pPr algn="ctr" eaLnBrk="1" hangingPunct="1"/>
              <a:r>
                <a:rPr lang="en-GB" altLang="en-US" sz="1400" b="1">
                  <a:latin typeface="Calibri" pitchFamily="-112" charset="0"/>
                </a:rPr>
                <a:t>Wholesale wildlife traders</a:t>
              </a:r>
            </a:p>
          </p:txBody>
        </p:sp>
        <p:sp>
          <p:nvSpPr>
            <p:cNvPr id="31773" name="Rectangle 9"/>
            <p:cNvSpPr>
              <a:spLocks noChangeArrowheads="1"/>
            </p:cNvSpPr>
            <p:nvPr/>
          </p:nvSpPr>
          <p:spPr bwMode="auto">
            <a:xfrm>
              <a:off x="3386138" y="3886200"/>
              <a:ext cx="609600" cy="533400"/>
            </a:xfrm>
            <a:prstGeom prst="rect">
              <a:avLst/>
            </a:prstGeom>
            <a:solidFill>
              <a:srgbClr val="FFCC0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9pPr>
            </a:lstStyle>
            <a:p>
              <a:pPr eaLnBrk="1" hangingPunct="1"/>
              <a:endParaRPr lang="en-GB" altLang="en-US" sz="1800">
                <a:latin typeface="Calibri" pitchFamily="-112" charset="0"/>
              </a:endParaRPr>
            </a:p>
          </p:txBody>
        </p:sp>
        <p:pic>
          <p:nvPicPr>
            <p:cNvPr id="31774" name="Picture 117" descr="Man silhouette.svg.med.png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49638" y="3922713"/>
              <a:ext cx="469900" cy="444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1775" name="Rectangle 9"/>
            <p:cNvSpPr>
              <a:spLocks noChangeArrowheads="1"/>
            </p:cNvSpPr>
            <p:nvPr/>
          </p:nvSpPr>
          <p:spPr bwMode="auto">
            <a:xfrm>
              <a:off x="3408363" y="2986088"/>
              <a:ext cx="609600" cy="533400"/>
            </a:xfrm>
            <a:prstGeom prst="rect">
              <a:avLst/>
            </a:prstGeom>
            <a:solidFill>
              <a:srgbClr val="FFCC0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9pPr>
            </a:lstStyle>
            <a:p>
              <a:pPr eaLnBrk="1" hangingPunct="1"/>
              <a:endParaRPr lang="en-GB" altLang="en-US" sz="1800">
                <a:latin typeface="Calibri" pitchFamily="-112" charset="0"/>
              </a:endParaRPr>
            </a:p>
          </p:txBody>
        </p:sp>
        <p:pic>
          <p:nvPicPr>
            <p:cNvPr id="31776" name="Picture 115" descr="Man silhouette.svg.med.png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71863" y="3021013"/>
              <a:ext cx="469900" cy="4460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127" name="Elbow Connector 126"/>
            <p:cNvCxnSpPr>
              <a:cxnSpLocks noChangeShapeType="1"/>
              <a:stCxn id="31758" idx="3"/>
            </p:cNvCxnSpPr>
            <p:nvPr/>
          </p:nvCxnSpPr>
          <p:spPr bwMode="auto">
            <a:xfrm>
              <a:off x="3995738" y="2324100"/>
              <a:ext cx="547687" cy="455613"/>
            </a:xfrm>
            <a:prstGeom prst="bentConnector2">
              <a:avLst/>
            </a:prstGeom>
            <a:noFill/>
            <a:ln w="25400">
              <a:solidFill>
                <a:schemeClr val="tx1"/>
              </a:solidFill>
              <a:miter lim="800000"/>
              <a:headEnd/>
              <a:tailEnd type="triangle" w="med" len="med"/>
            </a:ln>
            <a:effectLst>
              <a:outerShdw blurRad="40000" dist="20000" dir="5400000" rotWithShape="0">
                <a:srgbClr val="808080">
                  <a:alpha val="37999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9" name="Elbow Connector 126"/>
            <p:cNvCxnSpPr>
              <a:cxnSpLocks noChangeShapeType="1"/>
            </p:cNvCxnSpPr>
            <p:nvPr/>
          </p:nvCxnSpPr>
          <p:spPr bwMode="auto">
            <a:xfrm rot="5400000" flipH="1" flipV="1">
              <a:off x="3987007" y="3634581"/>
              <a:ext cx="565150" cy="547687"/>
            </a:xfrm>
            <a:prstGeom prst="bentConnector3">
              <a:avLst>
                <a:gd name="adj1" fmla="val 50000"/>
              </a:avLst>
            </a:prstGeom>
            <a:noFill/>
            <a:ln w="25400">
              <a:solidFill>
                <a:schemeClr val="tx1"/>
              </a:solidFill>
              <a:miter lim="800000"/>
              <a:headEnd/>
              <a:tailEnd type="triangle" w="med" len="med"/>
            </a:ln>
            <a:effectLst>
              <a:outerShdw blurRad="40000" dist="20000" dir="5400000" rotWithShape="0">
                <a:srgbClr val="808080">
                  <a:alpha val="37999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33" name="Elbow Connector 132"/>
            <p:cNvCxnSpPr>
              <a:cxnSpLocks noChangeShapeType="1"/>
              <a:endCxn id="31758" idx="0"/>
            </p:cNvCxnSpPr>
            <p:nvPr/>
          </p:nvCxnSpPr>
          <p:spPr bwMode="auto">
            <a:xfrm>
              <a:off x="3157538" y="1905000"/>
              <a:ext cx="533400" cy="152400"/>
            </a:xfrm>
            <a:prstGeom prst="bentConnector2">
              <a:avLst/>
            </a:prstGeom>
            <a:noFill/>
            <a:ln w="25400">
              <a:solidFill>
                <a:schemeClr val="tx1"/>
              </a:solidFill>
              <a:miter lim="800000"/>
              <a:headEnd/>
              <a:tailEnd type="triangle" w="med" len="med"/>
            </a:ln>
            <a:effectLst>
              <a:outerShdw blurRad="40000" dist="20000" dir="5400000" rotWithShape="0">
                <a:srgbClr val="808080">
                  <a:alpha val="37999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37" name="Elbow Connector 136"/>
            <p:cNvCxnSpPr>
              <a:cxnSpLocks noChangeShapeType="1"/>
              <a:endCxn id="31773" idx="2"/>
            </p:cNvCxnSpPr>
            <p:nvPr/>
          </p:nvCxnSpPr>
          <p:spPr bwMode="auto">
            <a:xfrm flipV="1">
              <a:off x="3157538" y="4419600"/>
              <a:ext cx="533400" cy="228600"/>
            </a:xfrm>
            <a:prstGeom prst="bentConnector2">
              <a:avLst/>
            </a:prstGeom>
            <a:noFill/>
            <a:ln w="25400">
              <a:solidFill>
                <a:schemeClr val="tx1"/>
              </a:solidFill>
              <a:miter lim="800000"/>
              <a:headEnd/>
              <a:tailEnd type="triangle" w="med" len="med"/>
            </a:ln>
            <a:effectLst>
              <a:outerShdw blurRad="40000" dist="20000" dir="5400000" rotWithShape="0">
                <a:srgbClr val="808080">
                  <a:alpha val="37999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7" name="Elbow Connector 166"/>
            <p:cNvCxnSpPr>
              <a:cxnSpLocks noChangeShapeType="1"/>
              <a:stCxn id="31748" idx="3"/>
              <a:endCxn id="31750" idx="1"/>
            </p:cNvCxnSpPr>
            <p:nvPr/>
          </p:nvCxnSpPr>
          <p:spPr bwMode="auto">
            <a:xfrm>
              <a:off x="990600" y="3768725"/>
              <a:ext cx="381000" cy="1417638"/>
            </a:xfrm>
            <a:prstGeom prst="bentConnector3">
              <a:avLst>
                <a:gd name="adj1" fmla="val 50000"/>
              </a:avLst>
            </a:prstGeom>
            <a:noFill/>
            <a:ln w="25400">
              <a:solidFill>
                <a:schemeClr val="tx1"/>
              </a:solidFill>
              <a:miter lim="800000"/>
              <a:headEnd/>
              <a:tailEnd type="triangle" w="med" len="med"/>
            </a:ln>
            <a:effectLst>
              <a:outerShdw blurRad="40000" dist="20000" dir="5400000" rotWithShape="0">
                <a:srgbClr val="808080">
                  <a:alpha val="37999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0" name="Elbow Connector 169"/>
            <p:cNvCxnSpPr>
              <a:cxnSpLocks noChangeShapeType="1"/>
              <a:stCxn id="31747" idx="3"/>
              <a:endCxn id="31749" idx="1"/>
            </p:cNvCxnSpPr>
            <p:nvPr/>
          </p:nvCxnSpPr>
          <p:spPr bwMode="auto">
            <a:xfrm flipV="1">
              <a:off x="990600" y="1698626"/>
              <a:ext cx="381000" cy="681940"/>
            </a:xfrm>
            <a:prstGeom prst="bentConnector3">
              <a:avLst>
                <a:gd name="adj1" fmla="val 50000"/>
              </a:avLst>
            </a:prstGeom>
            <a:noFill/>
            <a:ln w="25400">
              <a:solidFill>
                <a:schemeClr val="tx1"/>
              </a:solidFill>
              <a:miter lim="800000"/>
              <a:headEnd/>
              <a:tailEnd type="triangle" w="med" len="med"/>
            </a:ln>
            <a:effectLst>
              <a:outerShdw blurRad="40000" dist="20000" dir="5400000" rotWithShape="0">
                <a:srgbClr val="808080">
                  <a:alpha val="37999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3" name="Elbow Connector 172"/>
            <p:cNvCxnSpPr>
              <a:cxnSpLocks noChangeShapeType="1"/>
              <a:stCxn id="31748" idx="3"/>
              <a:endCxn id="31749" idx="1"/>
            </p:cNvCxnSpPr>
            <p:nvPr/>
          </p:nvCxnSpPr>
          <p:spPr bwMode="auto">
            <a:xfrm flipV="1">
              <a:off x="990600" y="1698625"/>
              <a:ext cx="381000" cy="2070100"/>
            </a:xfrm>
            <a:prstGeom prst="bentConnector3">
              <a:avLst>
                <a:gd name="adj1" fmla="val 50000"/>
              </a:avLst>
            </a:prstGeom>
            <a:noFill/>
            <a:ln w="25400">
              <a:solidFill>
                <a:schemeClr val="tx1"/>
              </a:solidFill>
              <a:miter lim="800000"/>
              <a:headEnd/>
              <a:tailEnd type="triangle" w="med" len="med"/>
            </a:ln>
            <a:effectLst>
              <a:outerShdw blurRad="40000" dist="20000" dir="5400000" rotWithShape="0">
                <a:srgbClr val="808080">
                  <a:alpha val="37999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pic>
          <p:nvPicPr>
            <p:cNvPr id="31784" name="Picture 180" descr="elephant silhouettes.jpg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5413" y="1262063"/>
              <a:ext cx="914400" cy="7191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1785" name="Picture 181" descr="tigersilhouette.jpg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4343400"/>
              <a:ext cx="965200" cy="609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1786" name="Picture 182" descr="bearsilhouette.jpg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200" y="2819400"/>
              <a:ext cx="942975" cy="457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1787" name="Rectangle 6"/>
            <p:cNvSpPr>
              <a:spLocks noChangeArrowheads="1"/>
            </p:cNvSpPr>
            <p:nvPr/>
          </p:nvSpPr>
          <p:spPr bwMode="auto">
            <a:xfrm>
              <a:off x="5638800" y="423863"/>
              <a:ext cx="838200" cy="1014412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9pPr>
            </a:lstStyle>
            <a:p>
              <a:pPr algn="ctr" eaLnBrk="1" hangingPunct="1"/>
              <a:endParaRPr lang="en-US" altLang="en-US" sz="1200" b="1">
                <a:latin typeface="Calibri" pitchFamily="-112" charset="0"/>
              </a:endParaRPr>
            </a:p>
            <a:p>
              <a:pPr algn="ctr" eaLnBrk="1" hangingPunct="1"/>
              <a:r>
                <a:rPr lang="en-US" altLang="en-US" sz="1200" b="1">
                  <a:latin typeface="Calibri" pitchFamily="-112" charset="0"/>
                </a:rPr>
                <a:t>Illegal crossing points </a:t>
              </a:r>
            </a:p>
            <a:p>
              <a:pPr algn="ctr" eaLnBrk="1" hangingPunct="1"/>
              <a:endParaRPr lang="en-US" altLang="en-US" sz="1200" b="1">
                <a:latin typeface="Calibri" pitchFamily="-112" charset="0"/>
              </a:endParaRPr>
            </a:p>
          </p:txBody>
        </p:sp>
        <p:sp>
          <p:nvSpPr>
            <p:cNvPr id="93" name="Rounded Rectangle 92"/>
            <p:cNvSpPr>
              <a:spLocks noChangeArrowheads="1"/>
            </p:cNvSpPr>
            <p:nvPr/>
          </p:nvSpPr>
          <p:spPr bwMode="auto">
            <a:xfrm>
              <a:off x="7977188" y="152400"/>
              <a:ext cx="1074737" cy="4565650"/>
            </a:xfrm>
            <a:prstGeom prst="roundRect">
              <a:avLst>
                <a:gd name="adj" fmla="val 16667"/>
              </a:avLst>
            </a:prstGeom>
            <a:solidFill>
              <a:schemeClr val="accent3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vert="eaVert" lIns="10800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b="1" dirty="0">
                  <a:latin typeface="+mn-lt"/>
                  <a:ea typeface="+mn-ea"/>
                </a:rPr>
                <a:t>EXPORT</a:t>
              </a:r>
            </a:p>
          </p:txBody>
        </p:sp>
        <p:sp>
          <p:nvSpPr>
            <p:cNvPr id="31789" name="Rectangle 6"/>
            <p:cNvSpPr>
              <a:spLocks noChangeArrowheads="1"/>
            </p:cNvSpPr>
            <p:nvPr/>
          </p:nvSpPr>
          <p:spPr bwMode="auto">
            <a:xfrm>
              <a:off x="5638800" y="3175000"/>
              <a:ext cx="838200" cy="1016000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9pPr>
            </a:lstStyle>
            <a:p>
              <a:pPr algn="ctr" eaLnBrk="1" hangingPunct="1"/>
              <a:endParaRPr lang="en-US" altLang="en-US" sz="1200" b="1">
                <a:latin typeface="Calibri" pitchFamily="-112" charset="0"/>
              </a:endParaRPr>
            </a:p>
            <a:p>
              <a:pPr algn="ctr" eaLnBrk="1" hangingPunct="1"/>
              <a:r>
                <a:rPr lang="en-US" altLang="en-US" sz="1200" b="1">
                  <a:latin typeface="Calibri" pitchFamily="-112" charset="0"/>
                </a:rPr>
                <a:t>Legal border gates </a:t>
              </a:r>
            </a:p>
            <a:p>
              <a:pPr algn="ctr" eaLnBrk="1" hangingPunct="1"/>
              <a:endParaRPr lang="en-US" altLang="en-US" sz="1200" b="1">
                <a:latin typeface="Calibri" pitchFamily="-112" charset="0"/>
              </a:endParaRPr>
            </a:p>
          </p:txBody>
        </p:sp>
        <p:sp>
          <p:nvSpPr>
            <p:cNvPr id="31790" name="Rectangle 6"/>
            <p:cNvSpPr>
              <a:spLocks noChangeArrowheads="1"/>
            </p:cNvSpPr>
            <p:nvPr/>
          </p:nvSpPr>
          <p:spPr bwMode="auto">
            <a:xfrm>
              <a:off x="6850063" y="3200400"/>
              <a:ext cx="1066800" cy="276225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anchor="ctr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9pPr>
            </a:lstStyle>
            <a:p>
              <a:pPr algn="ctr" eaLnBrk="1" hangingPunct="1"/>
              <a:r>
                <a:rPr lang="en-US" altLang="en-US" sz="1200" b="1">
                  <a:latin typeface="Calibri" pitchFamily="-112" charset="0"/>
                </a:rPr>
                <a:t>Smuggled</a:t>
              </a:r>
            </a:p>
          </p:txBody>
        </p:sp>
        <p:cxnSp>
          <p:nvCxnSpPr>
            <p:cNvPr id="128" name="Elbow Connector 127"/>
            <p:cNvCxnSpPr>
              <a:cxnSpLocks noChangeShapeType="1"/>
              <a:stCxn id="108" idx="3"/>
              <a:endCxn id="31787" idx="1"/>
            </p:cNvCxnSpPr>
            <p:nvPr/>
          </p:nvCxnSpPr>
          <p:spPr bwMode="auto">
            <a:xfrm flipV="1">
              <a:off x="5105400" y="931863"/>
              <a:ext cx="533400" cy="2116137"/>
            </a:xfrm>
            <a:prstGeom prst="bentConnector3">
              <a:avLst>
                <a:gd name="adj1" fmla="val 50000"/>
              </a:avLst>
            </a:prstGeom>
            <a:noFill/>
            <a:ln w="63500">
              <a:solidFill>
                <a:schemeClr val="tx1"/>
              </a:solidFill>
              <a:miter lim="800000"/>
              <a:headEnd/>
              <a:tailEnd type="triangle" w="med" len="med"/>
            </a:ln>
            <a:effectLst>
              <a:outerShdw blurRad="40000" dist="20000" dir="5400000" rotWithShape="0">
                <a:srgbClr val="808080">
                  <a:alpha val="37999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31" name="Elbow Connector 130"/>
            <p:cNvCxnSpPr>
              <a:cxnSpLocks noChangeShapeType="1"/>
              <a:stCxn id="108" idx="3"/>
              <a:endCxn id="31789" idx="1"/>
            </p:cNvCxnSpPr>
            <p:nvPr/>
          </p:nvCxnSpPr>
          <p:spPr bwMode="auto">
            <a:xfrm>
              <a:off x="5105400" y="3048000"/>
              <a:ext cx="533400" cy="635000"/>
            </a:xfrm>
            <a:prstGeom prst="bentConnector3">
              <a:avLst>
                <a:gd name="adj1" fmla="val 50000"/>
              </a:avLst>
            </a:prstGeom>
            <a:noFill/>
            <a:ln w="63500">
              <a:solidFill>
                <a:schemeClr val="tx1"/>
              </a:solidFill>
              <a:miter lim="800000"/>
              <a:headEnd/>
              <a:tailEnd type="triangle" w="med" len="med"/>
            </a:ln>
            <a:effectLst>
              <a:outerShdw blurRad="40000" dist="20000" dir="5400000" rotWithShape="0">
                <a:srgbClr val="808080">
                  <a:alpha val="37999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8" name="Elbow Connector 147"/>
            <p:cNvCxnSpPr>
              <a:cxnSpLocks noChangeShapeType="1"/>
              <a:stCxn id="31789" idx="3"/>
              <a:endCxn id="31790" idx="1"/>
            </p:cNvCxnSpPr>
            <p:nvPr/>
          </p:nvCxnSpPr>
          <p:spPr bwMode="auto">
            <a:xfrm flipV="1">
              <a:off x="6477000" y="3338513"/>
              <a:ext cx="373063" cy="344487"/>
            </a:xfrm>
            <a:prstGeom prst="bentConnector3">
              <a:avLst>
                <a:gd name="adj1" fmla="val 50000"/>
              </a:avLst>
            </a:prstGeom>
            <a:noFill/>
            <a:ln w="38100">
              <a:solidFill>
                <a:schemeClr val="tx1"/>
              </a:solidFill>
              <a:miter lim="800000"/>
              <a:headEnd/>
              <a:tailEnd type="triangle" w="med" len="med"/>
            </a:ln>
            <a:effectLst>
              <a:outerShdw blurRad="40000" dist="20000" dir="5400000" rotWithShape="0">
                <a:srgbClr val="808080">
                  <a:alpha val="37999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3" name="Straight Arrow Connector 152"/>
            <p:cNvCxnSpPr>
              <a:cxnSpLocks noChangeShapeType="1"/>
            </p:cNvCxnSpPr>
            <p:nvPr/>
          </p:nvCxnSpPr>
          <p:spPr bwMode="auto">
            <a:xfrm flipV="1">
              <a:off x="6477000" y="914400"/>
              <a:ext cx="2209800" cy="11113"/>
            </a:xfrm>
            <a:prstGeom prst="straightConnector1">
              <a:avLst/>
            </a:prstGeom>
            <a:noFill/>
            <a:ln w="104775">
              <a:solidFill>
                <a:schemeClr val="tx1"/>
              </a:solidFill>
              <a:round/>
              <a:headEnd/>
              <a:tailEnd type="triangle" w="med" len="med"/>
            </a:ln>
            <a:effectLst>
              <a:outerShdw blurRad="40000" dist="20000" dir="5400000" rotWithShape="0">
                <a:srgbClr val="808080">
                  <a:alpha val="37999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4" name="Straight Arrow Connector 153"/>
            <p:cNvCxnSpPr>
              <a:cxnSpLocks noChangeShapeType="1"/>
            </p:cNvCxnSpPr>
            <p:nvPr/>
          </p:nvCxnSpPr>
          <p:spPr bwMode="auto">
            <a:xfrm>
              <a:off x="7916863" y="3333750"/>
              <a:ext cx="762000" cy="25400"/>
            </a:xfrm>
            <a:prstGeom prst="straightConnector1">
              <a:avLst/>
            </a:prstGeom>
            <a:noFill/>
            <a:ln w="104775">
              <a:solidFill>
                <a:schemeClr val="tx1"/>
              </a:solidFill>
              <a:round/>
              <a:headEnd/>
              <a:tailEnd type="triangle" w="med" len="med"/>
            </a:ln>
            <a:effectLst>
              <a:outerShdw blurRad="40000" dist="20000" dir="5400000" rotWithShape="0">
                <a:srgbClr val="808080">
                  <a:alpha val="37999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pic>
          <p:nvPicPr>
            <p:cNvPr id="31796" name="Picture 171" descr="customs.png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15000" y="2397125"/>
              <a:ext cx="720725" cy="6207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1797" name="Rectangle 6"/>
            <p:cNvSpPr>
              <a:spLocks noChangeArrowheads="1"/>
            </p:cNvSpPr>
            <p:nvPr/>
          </p:nvSpPr>
          <p:spPr bwMode="auto">
            <a:xfrm>
              <a:off x="6850063" y="3886200"/>
              <a:ext cx="1066800" cy="276225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anchor="ctr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9pPr>
            </a:lstStyle>
            <a:p>
              <a:pPr algn="ctr" eaLnBrk="1" hangingPunct="1"/>
              <a:r>
                <a:rPr lang="en-US" altLang="en-US" sz="1200" b="1">
                  <a:latin typeface="Calibri" pitchFamily="-112" charset="0"/>
                </a:rPr>
                <a:t>Fake permits</a:t>
              </a:r>
            </a:p>
          </p:txBody>
        </p:sp>
        <p:cxnSp>
          <p:nvCxnSpPr>
            <p:cNvPr id="176" name="Straight Arrow Connector 175"/>
            <p:cNvCxnSpPr>
              <a:cxnSpLocks noChangeShapeType="1"/>
            </p:cNvCxnSpPr>
            <p:nvPr/>
          </p:nvCxnSpPr>
          <p:spPr bwMode="auto">
            <a:xfrm>
              <a:off x="7916863" y="3994150"/>
              <a:ext cx="762000" cy="1588"/>
            </a:xfrm>
            <a:prstGeom prst="straightConnector1">
              <a:avLst/>
            </a:prstGeom>
            <a:noFill/>
            <a:ln w="104775">
              <a:solidFill>
                <a:schemeClr val="tx1"/>
              </a:solidFill>
              <a:round/>
              <a:headEnd/>
              <a:tailEnd type="triangle" w="med" len="med"/>
            </a:ln>
            <a:effectLst>
              <a:outerShdw blurRad="40000" dist="20000" dir="5400000" rotWithShape="0">
                <a:srgbClr val="808080">
                  <a:alpha val="37999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7" name="Elbow Connector 176"/>
            <p:cNvCxnSpPr>
              <a:cxnSpLocks noChangeShapeType="1"/>
              <a:stCxn id="31789" idx="3"/>
              <a:endCxn id="31797" idx="1"/>
            </p:cNvCxnSpPr>
            <p:nvPr/>
          </p:nvCxnSpPr>
          <p:spPr bwMode="auto">
            <a:xfrm>
              <a:off x="6477000" y="3683000"/>
              <a:ext cx="373063" cy="341313"/>
            </a:xfrm>
            <a:prstGeom prst="bentConnector3">
              <a:avLst>
                <a:gd name="adj1" fmla="val 50000"/>
              </a:avLst>
            </a:prstGeom>
            <a:noFill/>
            <a:ln w="38100">
              <a:solidFill>
                <a:schemeClr val="tx1"/>
              </a:solidFill>
              <a:miter lim="800000"/>
              <a:headEnd/>
              <a:tailEnd type="triangle" w="med" len="med"/>
            </a:ln>
            <a:effectLst>
              <a:outerShdw blurRad="40000" dist="20000" dir="5400000" rotWithShape="0">
                <a:srgbClr val="808080">
                  <a:alpha val="37999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0" name="Elbow Connector 69"/>
            <p:cNvCxnSpPr>
              <a:cxnSpLocks noChangeShapeType="1"/>
              <a:stCxn id="108" idx="2"/>
              <a:endCxn id="31801" idx="1"/>
            </p:cNvCxnSpPr>
            <p:nvPr/>
          </p:nvCxnSpPr>
          <p:spPr bwMode="auto">
            <a:xfrm rot="16200000" flipH="1">
              <a:off x="4139994" y="4715874"/>
              <a:ext cx="804481" cy="1278731"/>
            </a:xfrm>
            <a:prstGeom prst="bentConnector2">
              <a:avLst/>
            </a:prstGeom>
            <a:noFill/>
            <a:ln w="63500">
              <a:solidFill>
                <a:schemeClr val="tx1"/>
              </a:solidFill>
              <a:miter lim="800000"/>
              <a:headEnd/>
              <a:tailEnd type="triangle" w="med" len="med"/>
            </a:ln>
            <a:effectLst>
              <a:outerShdw blurRad="40000" dist="20000" dir="5400000" rotWithShape="0">
                <a:srgbClr val="808080">
                  <a:alpha val="37999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31801" name="Rectangle 6"/>
            <p:cNvSpPr>
              <a:spLocks noChangeArrowheads="1"/>
            </p:cNvSpPr>
            <p:nvPr/>
          </p:nvSpPr>
          <p:spPr bwMode="auto">
            <a:xfrm>
              <a:off x="5181600" y="5041900"/>
              <a:ext cx="1428750" cy="1431161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Impact" pitchFamily="-112" charset="0"/>
                  <a:ea typeface="ＭＳ Ｐゴシック" pitchFamily="-112" charset="-128"/>
                </a:defRPr>
              </a:lvl9pPr>
            </a:lstStyle>
            <a:p>
              <a:pPr algn="ctr" eaLnBrk="1" hangingPunct="1"/>
              <a:r>
                <a:rPr lang="en-US" altLang="en-US" sz="1500" b="1" dirty="0" smtClean="0">
                  <a:latin typeface="Calibri" pitchFamily="-112" charset="0"/>
                </a:rPr>
                <a:t>Indonesian retailers</a:t>
              </a:r>
              <a:r>
                <a:rPr lang="en-US" altLang="en-US" sz="1500" b="1" dirty="0">
                  <a:latin typeface="Calibri" pitchFamily="-112" charset="0"/>
                </a:rPr>
                <a:t>:</a:t>
              </a:r>
            </a:p>
            <a:p>
              <a:pPr algn="ctr" eaLnBrk="1" hangingPunct="1"/>
              <a:r>
                <a:rPr lang="en-US" altLang="en-US" sz="1400" dirty="0">
                  <a:latin typeface="Calibri" pitchFamily="-112" charset="0"/>
                </a:rPr>
                <a:t>Restaurants</a:t>
              </a:r>
            </a:p>
            <a:p>
              <a:pPr algn="ctr" eaLnBrk="1" hangingPunct="1"/>
              <a:r>
                <a:rPr lang="en-US" altLang="en-US" sz="1400" dirty="0">
                  <a:latin typeface="Calibri" pitchFamily="-112" charset="0"/>
                </a:rPr>
                <a:t>Pharmacies</a:t>
              </a:r>
            </a:p>
            <a:p>
              <a:pPr algn="ctr" eaLnBrk="1" hangingPunct="1"/>
              <a:r>
                <a:rPr lang="en-US" altLang="en-US" sz="1400" dirty="0">
                  <a:latin typeface="Calibri" pitchFamily="-112" charset="0"/>
                </a:rPr>
                <a:t>Pet Shops</a:t>
              </a:r>
            </a:p>
            <a:p>
              <a:pPr algn="ctr" eaLnBrk="1" hangingPunct="1"/>
              <a:r>
                <a:rPr lang="en-US" altLang="en-US" sz="1500" dirty="0">
                  <a:latin typeface="Calibri" pitchFamily="-112" charset="0"/>
                </a:rPr>
                <a:t>Jewelry shop</a:t>
              </a:r>
            </a:p>
          </p:txBody>
        </p:sp>
        <p:cxnSp>
          <p:nvCxnSpPr>
            <p:cNvPr id="80" name="Elbow Connector 79"/>
            <p:cNvCxnSpPr>
              <a:cxnSpLocks noChangeShapeType="1"/>
              <a:stCxn id="31801" idx="3"/>
              <a:endCxn id="84" idx="1"/>
            </p:cNvCxnSpPr>
            <p:nvPr/>
          </p:nvCxnSpPr>
          <p:spPr bwMode="auto">
            <a:xfrm flipV="1">
              <a:off x="6610350" y="5757069"/>
              <a:ext cx="876300" cy="412"/>
            </a:xfrm>
            <a:prstGeom prst="bentConnector3">
              <a:avLst>
                <a:gd name="adj1" fmla="val 50000"/>
              </a:avLst>
            </a:prstGeom>
            <a:noFill/>
            <a:ln w="38100">
              <a:solidFill>
                <a:schemeClr val="tx1"/>
              </a:solidFill>
              <a:miter lim="800000"/>
              <a:headEnd/>
              <a:tailEnd type="triangle" w="med" len="med"/>
            </a:ln>
            <a:effectLst>
              <a:outerShdw blurRad="40000" dist="20000" dir="5400000" rotWithShape="0">
                <a:srgbClr val="808080">
                  <a:alpha val="37999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84" name="Rounded Rectangle 83"/>
            <p:cNvSpPr>
              <a:spLocks noChangeArrowheads="1"/>
            </p:cNvSpPr>
            <p:nvPr/>
          </p:nvSpPr>
          <p:spPr bwMode="auto">
            <a:xfrm>
              <a:off x="7486650" y="5041900"/>
              <a:ext cx="1504950" cy="1430338"/>
            </a:xfrm>
            <a:prstGeom prst="roundRect">
              <a:avLst>
                <a:gd name="adj" fmla="val 16667"/>
              </a:avLst>
            </a:prstGeom>
            <a:solidFill>
              <a:schemeClr val="accent3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lIns="10800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600" b="1" dirty="0" smtClean="0"/>
                <a:t>Indonesian </a:t>
              </a:r>
              <a:r>
                <a:rPr lang="en-GB" sz="1600" b="1" dirty="0" smtClean="0">
                  <a:latin typeface="+mn-lt"/>
                  <a:ea typeface="+mn-ea"/>
                </a:rPr>
                <a:t>Consumers</a:t>
              </a:r>
              <a:endParaRPr lang="en-GB" sz="1600" b="1" dirty="0">
                <a:latin typeface="+mn-lt"/>
                <a:ea typeface="+mn-ea"/>
              </a:endParaRPr>
            </a:p>
          </p:txBody>
        </p:sp>
        <p:pic>
          <p:nvPicPr>
            <p:cNvPr id="31804" name="Picture 64" descr="truck1.png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46538" y="5322888"/>
              <a:ext cx="904875" cy="333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1805" name="Picture 64" descr="truck1.png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38800" y="1577975"/>
              <a:ext cx="904875" cy="3349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406264288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Grp="1" noChangeAspect="1" noChangeArrowheads="1"/>
          </p:cNvPicPr>
          <p:nvPr>
            <p:ph idx="1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430"/>
          <a:stretch/>
        </p:blipFill>
        <p:spPr bwMode="auto">
          <a:xfrm>
            <a:off x="2339752" y="2646654"/>
            <a:ext cx="4469976" cy="28017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1691680" y="1299270"/>
            <a:ext cx="612068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3200" b="1" dirty="0" smtClean="0"/>
              <a:t>WILDLIFE CRIME IS AN ENVIRONMENTAL PROBLEM….</a:t>
            </a:r>
            <a:endParaRPr lang="en-GB" sz="3200" b="1" dirty="0"/>
          </a:p>
        </p:txBody>
      </p:sp>
    </p:spTree>
    <p:extLst>
      <p:ext uri="{BB962C8B-B14F-4D97-AF65-F5344CB8AC3E}">
        <p14:creationId xmlns:p14="http://schemas.microsoft.com/office/powerpoint/2010/main" val="4050566864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9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14" dur="500"/>
                                        <p:tgtEl>
                                          <p:spTgt spid="409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" name="Picture 57" descr="GP0STOH4C.jpg"/>
          <p:cNvPicPr>
            <a:picLocks noChangeAspect="1"/>
          </p:cNvPicPr>
          <p:nvPr/>
        </p:nvPicPr>
        <p:blipFill>
          <a:blip r:embed="rId12" cstate="print">
            <a:alphaModFix amt="27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4375" y="2304088"/>
            <a:ext cx="4427785" cy="2969568"/>
          </a:xfrm>
          <a:prstGeom prst="ellipse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Far reaching impacts</a:t>
            </a:r>
            <a:endParaRPr lang="en-GB" dirty="0"/>
          </a:p>
        </p:txBody>
      </p:sp>
      <p:sp>
        <p:nvSpPr>
          <p:cNvPr id="33" name="Oval 6"/>
          <p:cNvSpPr>
            <a:spLocks noChangeArrowheads="1"/>
          </p:cNvSpPr>
          <p:nvPr/>
        </p:nvSpPr>
        <p:spPr bwMode="auto">
          <a:xfrm>
            <a:off x="1327054" y="1411948"/>
            <a:ext cx="4815459" cy="4753848"/>
          </a:xfrm>
          <a:prstGeom prst="ellips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altLang="en-US" sz="1600">
              <a:solidFill>
                <a:schemeClr val="bg1"/>
              </a:solidFill>
            </a:endParaRPr>
          </a:p>
        </p:txBody>
      </p:sp>
      <p:grpSp>
        <p:nvGrpSpPr>
          <p:cNvPr id="34" name="Group 7"/>
          <p:cNvGrpSpPr>
            <a:grpSpLocks/>
          </p:cNvGrpSpPr>
          <p:nvPr/>
        </p:nvGrpSpPr>
        <p:grpSpPr bwMode="auto">
          <a:xfrm>
            <a:off x="4142553" y="5093410"/>
            <a:ext cx="2173290" cy="1359926"/>
            <a:chOff x="2400" y="1968"/>
            <a:chExt cx="960" cy="960"/>
          </a:xfrm>
        </p:grpSpPr>
        <p:sp>
          <p:nvSpPr>
            <p:cNvPr id="48" name="Oval 8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blackWhite">
            <a:xfrm>
              <a:off x="2400" y="1968"/>
              <a:ext cx="960" cy="960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  <a:effectLst>
              <a:outerShdw dist="25400" dir="5400000" algn="ctr" rotWithShape="0">
                <a:schemeClr val="bg2"/>
              </a:outerShdw>
            </a:effectLst>
          </p:spPr>
          <p:txBody>
            <a:bodyPr wrap="none" anchor="ctr"/>
            <a:lstStyle/>
            <a:p>
              <a:endParaRPr lang="en-GB" sz="1600">
                <a:solidFill>
                  <a:schemeClr val="bg1"/>
                </a:solidFill>
              </a:endParaRPr>
            </a:p>
          </p:txBody>
        </p:sp>
        <p:sp>
          <p:nvSpPr>
            <p:cNvPr id="49" name="Rectangle 9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blackWhite">
            <a:xfrm>
              <a:off x="2462" y="2008"/>
              <a:ext cx="880" cy="88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810" tIns="0" rIns="3810" bIns="0" anchor="ctr"/>
            <a:lstStyle>
              <a:lvl1pPr defTabSz="895350">
                <a:buSzPct val="120000"/>
                <a:defRPr sz="1600">
                  <a:solidFill>
                    <a:schemeClr val="tx1"/>
                  </a:solidFill>
                  <a:latin typeface="Arial" charset="0"/>
                  <a:ea typeface="-윤고딕130" pitchFamily="18" charset="-127"/>
                </a:defRPr>
              </a:lvl1pPr>
              <a:lvl2pPr marL="144463" indent="-142875" defTabSz="895350">
                <a:buSzPct val="120000"/>
                <a:buChar char="•"/>
                <a:defRPr sz="1600">
                  <a:solidFill>
                    <a:schemeClr val="tx1"/>
                  </a:solidFill>
                  <a:latin typeface="Arial" charset="0"/>
                  <a:ea typeface="-윤고딕130" pitchFamily="18" charset="-127"/>
                </a:defRPr>
              </a:lvl2pPr>
              <a:lvl3pPr marL="295275" indent="-149225" defTabSz="895350">
                <a:buChar char="–"/>
                <a:defRPr sz="1600">
                  <a:solidFill>
                    <a:schemeClr val="tx1"/>
                  </a:solidFill>
                  <a:latin typeface="Arial" charset="0"/>
                  <a:ea typeface="-윤고딕130" pitchFamily="18" charset="-127"/>
                </a:defRPr>
              </a:lvl3pPr>
              <a:lvl4pPr marL="431800" indent="-134938" defTabSz="895350">
                <a:buSzPct val="89000"/>
                <a:buChar char="•"/>
                <a:defRPr sz="1600">
                  <a:solidFill>
                    <a:schemeClr val="tx1"/>
                  </a:solidFill>
                  <a:latin typeface="Arial" charset="0"/>
                  <a:ea typeface="-윤고딕130" pitchFamily="18" charset="-127"/>
                </a:defRPr>
              </a:lvl4pPr>
              <a:lvl5pPr marL="582613" indent="-149225" defTabSz="895350"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  <a:ea typeface="-윤고딕130" pitchFamily="18" charset="-127"/>
                </a:defRPr>
              </a:lvl5pPr>
              <a:lvl6pPr marL="10398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  <a:ea typeface="-윤고딕130" pitchFamily="18" charset="-127"/>
                </a:defRPr>
              </a:lvl6pPr>
              <a:lvl7pPr marL="14970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  <a:ea typeface="-윤고딕130" pitchFamily="18" charset="-127"/>
                </a:defRPr>
              </a:lvl7pPr>
              <a:lvl8pPr marL="19542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  <a:ea typeface="-윤고딕130" pitchFamily="18" charset="-127"/>
                </a:defRPr>
              </a:lvl8pPr>
              <a:lvl9pPr marL="24114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  <a:ea typeface="-윤고딕130" pitchFamily="18" charset="-127"/>
                </a:defRPr>
              </a:lvl9pPr>
            </a:lstStyle>
            <a:p>
              <a:pPr algn="ctr"/>
              <a:r>
                <a:rPr lang="en-US" altLang="ko-KR" b="1" dirty="0" smtClean="0">
                  <a:solidFill>
                    <a:schemeClr val="bg1"/>
                  </a:solidFill>
                  <a:latin typeface="+mj-lt"/>
                  <a:ea typeface="Gulim" pitchFamily="34" charset="-127"/>
                </a:rPr>
                <a:t>Economic losses (taxation)</a:t>
              </a:r>
              <a:endParaRPr lang="en-US" altLang="ko-KR" b="1" dirty="0">
                <a:solidFill>
                  <a:schemeClr val="bg1"/>
                </a:solidFill>
                <a:latin typeface="+mj-lt"/>
                <a:ea typeface="Gulim" pitchFamily="34" charset="-127"/>
              </a:endParaRPr>
            </a:p>
          </p:txBody>
        </p:sp>
      </p:grpSp>
      <p:grpSp>
        <p:nvGrpSpPr>
          <p:cNvPr id="35" name="Group 10"/>
          <p:cNvGrpSpPr>
            <a:grpSpLocks/>
          </p:cNvGrpSpPr>
          <p:nvPr/>
        </p:nvGrpSpPr>
        <p:grpSpPr bwMode="auto">
          <a:xfrm>
            <a:off x="1151502" y="5093410"/>
            <a:ext cx="2173290" cy="1359926"/>
            <a:chOff x="2400" y="1968"/>
            <a:chExt cx="960" cy="960"/>
          </a:xfrm>
        </p:grpSpPr>
        <p:sp>
          <p:nvSpPr>
            <p:cNvPr id="46" name="Oval 11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blackWhite">
            <a:xfrm>
              <a:off x="2400" y="1968"/>
              <a:ext cx="960" cy="960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  <a:effectLst>
              <a:outerShdw dist="25400" dir="5400000" algn="ctr" rotWithShape="0">
                <a:schemeClr val="bg2"/>
              </a:outerShdw>
            </a:effectLst>
          </p:spPr>
          <p:txBody>
            <a:bodyPr wrap="none" anchor="ctr"/>
            <a:lstStyle/>
            <a:p>
              <a:endParaRPr lang="en-GB" sz="160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47" name="Rectangle 12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blackWhite">
            <a:xfrm>
              <a:off x="2448" y="2048"/>
              <a:ext cx="880" cy="88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810" tIns="0" rIns="3810" bIns="0" anchor="ctr"/>
            <a:lstStyle>
              <a:lvl1pPr defTabSz="895350">
                <a:buSzPct val="120000"/>
                <a:defRPr sz="1600">
                  <a:solidFill>
                    <a:schemeClr val="tx1"/>
                  </a:solidFill>
                  <a:latin typeface="Arial" charset="0"/>
                  <a:ea typeface="-윤고딕130" pitchFamily="18" charset="-127"/>
                </a:defRPr>
              </a:lvl1pPr>
              <a:lvl2pPr marL="144463" indent="-142875" defTabSz="895350">
                <a:buSzPct val="120000"/>
                <a:buChar char="•"/>
                <a:defRPr sz="1600">
                  <a:solidFill>
                    <a:schemeClr val="tx1"/>
                  </a:solidFill>
                  <a:latin typeface="Arial" charset="0"/>
                  <a:ea typeface="-윤고딕130" pitchFamily="18" charset="-127"/>
                </a:defRPr>
              </a:lvl2pPr>
              <a:lvl3pPr marL="295275" indent="-149225" defTabSz="895350">
                <a:buChar char="–"/>
                <a:defRPr sz="1600">
                  <a:solidFill>
                    <a:schemeClr val="tx1"/>
                  </a:solidFill>
                  <a:latin typeface="Arial" charset="0"/>
                  <a:ea typeface="-윤고딕130" pitchFamily="18" charset="-127"/>
                </a:defRPr>
              </a:lvl3pPr>
              <a:lvl4pPr marL="431800" indent="-134938" defTabSz="895350">
                <a:buSzPct val="89000"/>
                <a:buChar char="•"/>
                <a:defRPr sz="1600">
                  <a:solidFill>
                    <a:schemeClr val="tx1"/>
                  </a:solidFill>
                  <a:latin typeface="Arial" charset="0"/>
                  <a:ea typeface="-윤고딕130" pitchFamily="18" charset="-127"/>
                </a:defRPr>
              </a:lvl4pPr>
              <a:lvl5pPr marL="582613" indent="-149225" defTabSz="895350"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  <a:ea typeface="-윤고딕130" pitchFamily="18" charset="-127"/>
                </a:defRPr>
              </a:lvl5pPr>
              <a:lvl6pPr marL="10398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  <a:ea typeface="-윤고딕130" pitchFamily="18" charset="-127"/>
                </a:defRPr>
              </a:lvl6pPr>
              <a:lvl7pPr marL="14970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  <a:ea typeface="-윤고딕130" pitchFamily="18" charset="-127"/>
                </a:defRPr>
              </a:lvl7pPr>
              <a:lvl8pPr marL="19542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  <a:ea typeface="-윤고딕130" pitchFamily="18" charset="-127"/>
                </a:defRPr>
              </a:lvl8pPr>
              <a:lvl9pPr marL="24114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  <a:ea typeface="-윤고딕130" pitchFamily="18" charset="-127"/>
                </a:defRPr>
              </a:lvl9pPr>
            </a:lstStyle>
            <a:p>
              <a:pPr algn="ctr"/>
              <a:r>
                <a:rPr lang="en-US" altLang="ko-KR" b="1" dirty="0" smtClean="0">
                  <a:solidFill>
                    <a:schemeClr val="bg1"/>
                  </a:solidFill>
                  <a:latin typeface="+mj-lt"/>
                  <a:ea typeface="Gulim" pitchFamily="34" charset="-127"/>
                </a:rPr>
                <a:t>Weakening the rule of law</a:t>
              </a:r>
              <a:endParaRPr lang="en-US" altLang="ko-KR" b="1" dirty="0">
                <a:solidFill>
                  <a:schemeClr val="bg1"/>
                </a:solidFill>
                <a:latin typeface="+mj-lt"/>
                <a:ea typeface="Gulim" pitchFamily="34" charset="-127"/>
              </a:endParaRPr>
            </a:p>
          </p:txBody>
        </p:sp>
      </p:grpSp>
      <p:grpSp>
        <p:nvGrpSpPr>
          <p:cNvPr id="37" name="Group 16"/>
          <p:cNvGrpSpPr>
            <a:grpSpLocks/>
          </p:cNvGrpSpPr>
          <p:nvPr/>
        </p:nvGrpSpPr>
        <p:grpSpPr bwMode="auto">
          <a:xfrm>
            <a:off x="251520" y="2734163"/>
            <a:ext cx="2173290" cy="1359926"/>
            <a:chOff x="2400" y="1968"/>
            <a:chExt cx="960" cy="960"/>
          </a:xfrm>
        </p:grpSpPr>
        <p:sp>
          <p:nvSpPr>
            <p:cNvPr id="42" name="Oval 17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blackWhite">
            <a:xfrm>
              <a:off x="2400" y="1968"/>
              <a:ext cx="960" cy="960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  <a:effectLst>
              <a:outerShdw dist="25400" dir="5400000" algn="ctr" rotWithShape="0">
                <a:schemeClr val="bg2"/>
              </a:outerShdw>
            </a:effectLst>
          </p:spPr>
          <p:txBody>
            <a:bodyPr wrap="none" anchor="ctr"/>
            <a:lstStyle/>
            <a:p>
              <a:pPr algn="ctr"/>
              <a:r>
                <a:rPr lang="en-US" altLang="ko-KR" sz="1600" b="1" dirty="0">
                  <a:solidFill>
                    <a:schemeClr val="bg1"/>
                  </a:solidFill>
                  <a:latin typeface="+mj-lt"/>
                  <a:ea typeface="Gulim" pitchFamily="34" charset="-127"/>
                </a:rPr>
                <a:t>Corruption</a:t>
              </a:r>
              <a:endParaRPr lang="en-GB" sz="16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43" name="Rectangle 18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blackWhite">
            <a:xfrm>
              <a:off x="2440" y="2008"/>
              <a:ext cx="880" cy="88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810" tIns="0" rIns="3810" bIns="0" anchor="ctr"/>
            <a:lstStyle>
              <a:lvl1pPr defTabSz="895350">
                <a:buSzPct val="120000"/>
                <a:defRPr sz="1600">
                  <a:solidFill>
                    <a:schemeClr val="tx1"/>
                  </a:solidFill>
                  <a:latin typeface="Arial" charset="0"/>
                  <a:ea typeface="-윤고딕130" pitchFamily="18" charset="-127"/>
                </a:defRPr>
              </a:lvl1pPr>
              <a:lvl2pPr marL="144463" indent="-142875" defTabSz="895350">
                <a:buSzPct val="120000"/>
                <a:buChar char="•"/>
                <a:defRPr sz="1600">
                  <a:solidFill>
                    <a:schemeClr val="tx1"/>
                  </a:solidFill>
                  <a:latin typeface="Arial" charset="0"/>
                  <a:ea typeface="-윤고딕130" pitchFamily="18" charset="-127"/>
                </a:defRPr>
              </a:lvl2pPr>
              <a:lvl3pPr marL="295275" indent="-149225" defTabSz="895350">
                <a:buChar char="–"/>
                <a:defRPr sz="1600">
                  <a:solidFill>
                    <a:schemeClr val="tx1"/>
                  </a:solidFill>
                  <a:latin typeface="Arial" charset="0"/>
                  <a:ea typeface="-윤고딕130" pitchFamily="18" charset="-127"/>
                </a:defRPr>
              </a:lvl3pPr>
              <a:lvl4pPr marL="431800" indent="-134938" defTabSz="895350">
                <a:buSzPct val="89000"/>
                <a:buChar char="•"/>
                <a:defRPr sz="1600">
                  <a:solidFill>
                    <a:schemeClr val="tx1"/>
                  </a:solidFill>
                  <a:latin typeface="Arial" charset="0"/>
                  <a:ea typeface="-윤고딕130" pitchFamily="18" charset="-127"/>
                </a:defRPr>
              </a:lvl4pPr>
              <a:lvl5pPr marL="582613" indent="-149225" defTabSz="895350"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  <a:ea typeface="-윤고딕130" pitchFamily="18" charset="-127"/>
                </a:defRPr>
              </a:lvl5pPr>
              <a:lvl6pPr marL="10398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  <a:ea typeface="-윤고딕130" pitchFamily="18" charset="-127"/>
                </a:defRPr>
              </a:lvl6pPr>
              <a:lvl7pPr marL="14970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  <a:ea typeface="-윤고딕130" pitchFamily="18" charset="-127"/>
                </a:defRPr>
              </a:lvl7pPr>
              <a:lvl8pPr marL="19542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  <a:ea typeface="-윤고딕130" pitchFamily="18" charset="-127"/>
                </a:defRPr>
              </a:lvl8pPr>
              <a:lvl9pPr marL="24114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  <a:ea typeface="-윤고딕130" pitchFamily="18" charset="-127"/>
                </a:defRPr>
              </a:lvl9pPr>
            </a:lstStyle>
            <a:p>
              <a:pPr algn="ctr"/>
              <a:endParaRPr lang="en-US" altLang="ko-KR" b="1" dirty="0" smtClean="0">
                <a:solidFill>
                  <a:schemeClr val="bg1"/>
                </a:solidFill>
                <a:latin typeface="+mj-lt"/>
                <a:ea typeface="Gulim" pitchFamily="34" charset="-127"/>
              </a:endParaRPr>
            </a:p>
          </p:txBody>
        </p:sp>
      </p:grpSp>
      <p:grpSp>
        <p:nvGrpSpPr>
          <p:cNvPr id="38" name="Group 19"/>
          <p:cNvGrpSpPr>
            <a:grpSpLocks/>
          </p:cNvGrpSpPr>
          <p:nvPr/>
        </p:nvGrpSpPr>
        <p:grpSpPr bwMode="auto">
          <a:xfrm>
            <a:off x="2598139" y="931142"/>
            <a:ext cx="2173290" cy="1359926"/>
            <a:chOff x="2400" y="1968"/>
            <a:chExt cx="960" cy="960"/>
          </a:xfrm>
        </p:grpSpPr>
        <p:sp>
          <p:nvSpPr>
            <p:cNvPr id="40" name="Oval 20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blackWhite">
            <a:xfrm>
              <a:off x="2400" y="1968"/>
              <a:ext cx="960" cy="960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  <a:effectLst>
              <a:outerShdw dist="25400" dir="5400000" algn="ctr" rotWithShape="0">
                <a:schemeClr val="bg2"/>
              </a:outerShdw>
            </a:effectLst>
          </p:spPr>
          <p:txBody>
            <a:bodyPr wrap="none" anchor="ctr"/>
            <a:lstStyle/>
            <a:p>
              <a:endParaRPr lang="en-GB" sz="1600">
                <a:solidFill>
                  <a:schemeClr val="bg1"/>
                </a:solidFill>
              </a:endParaRPr>
            </a:p>
          </p:txBody>
        </p:sp>
        <p:sp>
          <p:nvSpPr>
            <p:cNvPr id="41" name="Rectangle 21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blackWhite">
            <a:xfrm>
              <a:off x="2440" y="2008"/>
              <a:ext cx="880" cy="88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810" tIns="0" rIns="3810" bIns="0" anchor="ctr"/>
            <a:lstStyle>
              <a:lvl1pPr defTabSz="895350">
                <a:buSzPct val="120000"/>
                <a:defRPr sz="1600">
                  <a:solidFill>
                    <a:schemeClr val="tx1"/>
                  </a:solidFill>
                  <a:latin typeface="Arial" charset="0"/>
                  <a:ea typeface="-윤고딕130" pitchFamily="18" charset="-127"/>
                </a:defRPr>
              </a:lvl1pPr>
              <a:lvl2pPr marL="144463" indent="-142875" defTabSz="895350">
                <a:buSzPct val="120000"/>
                <a:buChar char="•"/>
                <a:defRPr sz="1600">
                  <a:solidFill>
                    <a:schemeClr val="tx1"/>
                  </a:solidFill>
                  <a:latin typeface="Arial" charset="0"/>
                  <a:ea typeface="-윤고딕130" pitchFamily="18" charset="-127"/>
                </a:defRPr>
              </a:lvl2pPr>
              <a:lvl3pPr marL="295275" indent="-149225" defTabSz="895350">
                <a:buChar char="–"/>
                <a:defRPr sz="1600">
                  <a:solidFill>
                    <a:schemeClr val="tx1"/>
                  </a:solidFill>
                  <a:latin typeface="Arial" charset="0"/>
                  <a:ea typeface="-윤고딕130" pitchFamily="18" charset="-127"/>
                </a:defRPr>
              </a:lvl3pPr>
              <a:lvl4pPr marL="431800" indent="-134938" defTabSz="895350">
                <a:buSzPct val="89000"/>
                <a:buChar char="•"/>
                <a:defRPr sz="1600">
                  <a:solidFill>
                    <a:schemeClr val="tx1"/>
                  </a:solidFill>
                  <a:latin typeface="Arial" charset="0"/>
                  <a:ea typeface="-윤고딕130" pitchFamily="18" charset="-127"/>
                </a:defRPr>
              </a:lvl4pPr>
              <a:lvl5pPr marL="582613" indent="-149225" defTabSz="895350"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  <a:ea typeface="-윤고딕130" pitchFamily="18" charset="-127"/>
                </a:defRPr>
              </a:lvl5pPr>
              <a:lvl6pPr marL="10398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  <a:ea typeface="-윤고딕130" pitchFamily="18" charset="-127"/>
                </a:defRPr>
              </a:lvl6pPr>
              <a:lvl7pPr marL="14970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  <a:ea typeface="-윤고딕130" pitchFamily="18" charset="-127"/>
                </a:defRPr>
              </a:lvl7pPr>
              <a:lvl8pPr marL="19542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  <a:ea typeface="-윤고딕130" pitchFamily="18" charset="-127"/>
                </a:defRPr>
              </a:lvl8pPr>
              <a:lvl9pPr marL="24114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  <a:ea typeface="-윤고딕130" pitchFamily="18" charset="-127"/>
                </a:defRPr>
              </a:lvl9pPr>
            </a:lstStyle>
            <a:p>
              <a:pPr algn="ctr"/>
              <a:r>
                <a:rPr lang="en-US" altLang="ko-KR" b="1" dirty="0" smtClean="0">
                  <a:solidFill>
                    <a:schemeClr val="bg1"/>
                  </a:solidFill>
                  <a:latin typeface="+mj-lt"/>
                  <a:ea typeface="Gulim" pitchFamily="34" charset="-127"/>
                </a:rPr>
                <a:t>Disease transmission (SARS, Avian flu)</a:t>
              </a:r>
              <a:endParaRPr lang="en-US" altLang="ko-KR" b="1" dirty="0">
                <a:solidFill>
                  <a:schemeClr val="bg1"/>
                </a:solidFill>
                <a:latin typeface="+mj-lt"/>
                <a:ea typeface="Gulim" pitchFamily="34" charset="-127"/>
              </a:endParaRPr>
            </a:p>
          </p:txBody>
        </p:sp>
      </p:grpSp>
      <p:sp>
        <p:nvSpPr>
          <p:cNvPr id="39" name="Rectangle 23"/>
          <p:cNvSpPr>
            <a:spLocks noChangeArrowheads="1"/>
          </p:cNvSpPr>
          <p:nvPr/>
        </p:nvSpPr>
        <p:spPr bwMode="auto">
          <a:xfrm flipH="1">
            <a:off x="2758136" y="2604534"/>
            <a:ext cx="1922184" cy="2451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charset="0"/>
                <a:ea typeface="-윤고딕130" pitchFamily="18" charset="-127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  <a:ea typeface="-윤고딕130" pitchFamily="18" charset="-127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charset="0"/>
                <a:ea typeface="-윤고딕130" pitchFamily="18" charset="-127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  <a:ea typeface="-윤고딕130" pitchFamily="18" charset="-127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  <a:ea typeface="-윤고딕130" pitchFamily="18" charset="-127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  <a:ea typeface="-윤고딕130" pitchFamily="18" charset="-127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  <a:ea typeface="-윤고딕130" pitchFamily="18" charset="-127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  <a:ea typeface="-윤고딕130" pitchFamily="18" charset="-127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  <a:ea typeface="-윤고딕130" pitchFamily="18" charset="-127"/>
              </a:defRPr>
            </a:lvl9pPr>
          </a:lstStyle>
          <a:p>
            <a:pPr algn="ctr"/>
            <a:endParaRPr lang="en-US" altLang="ko-KR" b="1" dirty="0">
              <a:solidFill>
                <a:schemeClr val="tx2">
                  <a:lumMod val="50000"/>
                </a:schemeClr>
              </a:solidFill>
              <a:latin typeface="+mj-lt"/>
              <a:ea typeface="Gulim" pitchFamily="34" charset="-127"/>
            </a:endParaRPr>
          </a:p>
        </p:txBody>
      </p:sp>
      <p:grpSp>
        <p:nvGrpSpPr>
          <p:cNvPr id="56" name="Group 55"/>
          <p:cNvGrpSpPr/>
          <p:nvPr/>
        </p:nvGrpSpPr>
        <p:grpSpPr>
          <a:xfrm>
            <a:off x="5051423" y="2727092"/>
            <a:ext cx="2184873" cy="1359926"/>
            <a:chOff x="5051423" y="2727092"/>
            <a:chExt cx="2184873" cy="1359926"/>
          </a:xfrm>
        </p:grpSpPr>
        <p:grpSp>
          <p:nvGrpSpPr>
            <p:cNvPr id="36" name="Group 13"/>
            <p:cNvGrpSpPr>
              <a:grpSpLocks/>
            </p:cNvGrpSpPr>
            <p:nvPr/>
          </p:nvGrpSpPr>
          <p:grpSpPr bwMode="auto">
            <a:xfrm>
              <a:off x="5051423" y="2727092"/>
              <a:ext cx="2173290" cy="1359926"/>
              <a:chOff x="2400" y="1968"/>
              <a:chExt cx="960" cy="960"/>
            </a:xfrm>
          </p:grpSpPr>
          <p:sp>
            <p:nvSpPr>
              <p:cNvPr id="44" name="Oval 14"/>
              <p:cNvSpPr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blackWhite">
              <a:xfrm>
                <a:off x="2400" y="1968"/>
                <a:ext cx="960" cy="960"/>
              </a:xfrm>
              <a:prstGeom prst="ellipse">
                <a:avLst/>
              </a:prstGeom>
              <a:solidFill>
                <a:schemeClr val="accent3">
                  <a:lumMod val="50000"/>
                </a:schemeClr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>
                <a:outerShdw dist="25400" dir="5400000" algn="ctr" rotWithShape="0">
                  <a:schemeClr val="bg2"/>
                </a:outerShdw>
              </a:effectLst>
            </p:spPr>
            <p:txBody>
              <a:bodyPr wrap="none" anchor="ctr"/>
              <a:lstStyle/>
              <a:p>
                <a:endParaRPr lang="en-GB" sz="1600">
                  <a:solidFill>
                    <a:schemeClr val="bg1"/>
                  </a:solidFill>
                </a:endParaRPr>
              </a:p>
            </p:txBody>
          </p:sp>
          <p:sp>
            <p:nvSpPr>
              <p:cNvPr id="45" name="Rectangle 15"/>
              <p:cNvSpPr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blackWhite">
              <a:xfrm>
                <a:off x="2440" y="2008"/>
                <a:ext cx="880" cy="88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810" tIns="0" rIns="3810" bIns="0" anchor="ctr"/>
              <a:lstStyle>
                <a:lvl1pPr defTabSz="895350">
                  <a:buSzPct val="120000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1pPr>
                <a:lvl2pPr marL="144463" indent="-142875" defTabSz="895350">
                  <a:buSzPct val="120000"/>
                  <a:buChar char="•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2pPr>
                <a:lvl3pPr marL="295275" indent="-149225" defTabSz="895350"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3pPr>
                <a:lvl4pPr marL="431800" indent="-134938" defTabSz="895350">
                  <a:buSzPct val="89000"/>
                  <a:buChar char="•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4pPr>
                <a:lvl5pPr marL="582613" indent="-149225" defTabSz="895350"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5pPr>
                <a:lvl6pPr marL="1039813" indent="-149225" defTabSz="89535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6pPr>
                <a:lvl7pPr marL="1497013" indent="-149225" defTabSz="89535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7pPr>
                <a:lvl8pPr marL="1954213" indent="-149225" defTabSz="89535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8pPr>
                <a:lvl9pPr marL="2411413" indent="-149225" defTabSz="89535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9pPr>
              </a:lstStyle>
              <a:p>
                <a:pPr algn="ctr"/>
                <a:endParaRPr lang="en-US" altLang="ko-KR" b="1" dirty="0">
                  <a:solidFill>
                    <a:schemeClr val="bg1"/>
                  </a:solidFill>
                  <a:latin typeface="+mj-lt"/>
                  <a:ea typeface="Gulim" pitchFamily="34" charset="-127"/>
                </a:endParaRPr>
              </a:p>
            </p:txBody>
          </p:sp>
        </p:grpSp>
        <p:sp>
          <p:nvSpPr>
            <p:cNvPr id="50" name="Rectangle 49"/>
            <p:cNvSpPr/>
            <p:nvPr/>
          </p:nvSpPr>
          <p:spPr>
            <a:xfrm>
              <a:off x="5190544" y="3122652"/>
              <a:ext cx="2045752" cy="6463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ko-KR" b="1" dirty="0">
                  <a:solidFill>
                    <a:schemeClr val="bg1"/>
                  </a:solidFill>
                  <a:ea typeface="Gulim" pitchFamily="34" charset="-127"/>
                </a:rPr>
                <a:t>Loss of ecosystem </a:t>
              </a:r>
              <a:endParaRPr lang="en-US" altLang="ko-KR" b="1" dirty="0" smtClean="0">
                <a:solidFill>
                  <a:schemeClr val="bg1"/>
                </a:solidFill>
                <a:ea typeface="Gulim" pitchFamily="34" charset="-127"/>
              </a:endParaRPr>
            </a:p>
            <a:p>
              <a:pPr algn="ctr"/>
              <a:r>
                <a:rPr lang="en-US" altLang="ko-KR" b="1" dirty="0" smtClean="0">
                  <a:solidFill>
                    <a:schemeClr val="bg1"/>
                  </a:solidFill>
                  <a:ea typeface="Gulim" pitchFamily="34" charset="-127"/>
                </a:rPr>
                <a:t>services</a:t>
              </a:r>
              <a:endParaRPr lang="en-US" altLang="ko-KR" b="1" dirty="0">
                <a:solidFill>
                  <a:schemeClr val="bg1"/>
                </a:solidFill>
                <a:ea typeface="Gulim" pitchFamily="34" charset="-127"/>
              </a:endParaRPr>
            </a:p>
          </p:txBody>
        </p:sp>
      </p:grpSp>
      <p:sp>
        <p:nvSpPr>
          <p:cNvPr id="51" name="TextBox 50"/>
          <p:cNvSpPr txBox="1"/>
          <p:nvPr/>
        </p:nvSpPr>
        <p:spPr>
          <a:xfrm>
            <a:off x="6138068" y="1196752"/>
            <a:ext cx="2970436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dirty="0" smtClean="0"/>
              <a:t>Manta rays value 2000 times greater for tourism alive than dead for fisheries products (c. $2m)</a:t>
            </a:r>
            <a:endParaRPr lang="en-GB" sz="2000" dirty="0"/>
          </a:p>
        </p:txBody>
      </p:sp>
    </p:spTree>
    <p:extLst>
      <p:ext uri="{BB962C8B-B14F-4D97-AF65-F5344CB8AC3E}">
        <p14:creationId xmlns:p14="http://schemas.microsoft.com/office/powerpoint/2010/main" val="65842884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1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1012" y="0"/>
            <a:ext cx="6858000" cy="2016224"/>
          </a:xfrm>
        </p:spPr>
        <p:txBody>
          <a:bodyPr/>
          <a:lstStyle/>
          <a:p>
            <a:r>
              <a:rPr lang="en-GB" dirty="0" smtClean="0"/>
              <a:t>Indonesian trends and challenges</a:t>
            </a:r>
            <a:endParaRPr lang="en-GB" dirty="0"/>
          </a:p>
        </p:txBody>
      </p:sp>
      <p:pic>
        <p:nvPicPr>
          <p:cNvPr id="4" name="Picture 2" descr="C:\Users\Matt\Desktop\Manta ray bust.jp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5656" y="2060848"/>
            <a:ext cx="6408712" cy="43095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6483072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4" name="Picture 2" descr="C:\Users\Matt\Desktop\Manta_Bali-II-watermarked.jp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980728"/>
            <a:ext cx="8208912" cy="54292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1"/>
          <p:cNvSpPr txBox="1">
            <a:spLocks/>
          </p:cNvSpPr>
          <p:nvPr/>
        </p:nvSpPr>
        <p:spPr bwMode="auto">
          <a:xfrm>
            <a:off x="358080" y="240829"/>
            <a:ext cx="853440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normAutofit/>
          </a:bodyPr>
          <a:lstStyle>
            <a:lvl1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5200" b="0" kern="1200" cap="all">
                <a:solidFill>
                  <a:schemeClr val="tx1"/>
                </a:solidFill>
                <a:latin typeface="Corbel"/>
                <a:ea typeface="ＭＳ Ｐゴシック" charset="0"/>
                <a:cs typeface="Corbel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3400">
                <a:solidFill>
                  <a:srgbClr val="1D243C"/>
                </a:solidFill>
                <a:latin typeface="Corbel" pitchFamily="34" charset="0"/>
                <a:ea typeface="ＭＳ Ｐゴシック" charset="0"/>
                <a:cs typeface="ＭＳ Ｐゴシック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3400">
                <a:solidFill>
                  <a:srgbClr val="1D243C"/>
                </a:solidFill>
                <a:latin typeface="Corbel" pitchFamily="34" charset="0"/>
                <a:ea typeface="ＭＳ Ｐゴシック" charset="0"/>
                <a:cs typeface="ＭＳ Ｐゴシック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3400">
                <a:solidFill>
                  <a:srgbClr val="1D243C"/>
                </a:solidFill>
                <a:latin typeface="Corbel" pitchFamily="34" charset="0"/>
                <a:ea typeface="ＭＳ Ｐゴシック" charset="0"/>
                <a:cs typeface="ＭＳ Ｐゴシック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3400">
                <a:solidFill>
                  <a:srgbClr val="1D243C"/>
                </a:solidFill>
                <a:latin typeface="Corbel" pitchFamily="34" charset="0"/>
                <a:ea typeface="ＭＳ Ｐゴシック" charset="0"/>
                <a:cs typeface="ＭＳ Ｐゴシック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defRPr sz="3400">
                <a:solidFill>
                  <a:srgbClr val="1D243C"/>
                </a:solidFill>
                <a:latin typeface="Corbel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defRPr sz="3400">
                <a:solidFill>
                  <a:srgbClr val="1D243C"/>
                </a:solidFill>
                <a:latin typeface="Corbel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defRPr sz="3400">
                <a:solidFill>
                  <a:srgbClr val="1D243C"/>
                </a:solidFill>
                <a:latin typeface="Corbel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defRPr sz="3400">
                <a:solidFill>
                  <a:srgbClr val="1D243C"/>
                </a:solidFill>
                <a:latin typeface="Corbel" pitchFamily="34" charset="0"/>
              </a:defRPr>
            </a:lvl9pPr>
          </a:lstStyle>
          <a:p>
            <a:r>
              <a:rPr lang="en-GB" sz="2400" b="1" dirty="0" smtClean="0"/>
              <a:t>current knowledge</a:t>
            </a:r>
            <a:endParaRPr lang="en-GB" sz="2400" b="1" dirty="0"/>
          </a:p>
        </p:txBody>
      </p:sp>
    </p:spTree>
    <p:extLst>
      <p:ext uri="{BB962C8B-B14F-4D97-AF65-F5344CB8AC3E}">
        <p14:creationId xmlns:p14="http://schemas.microsoft.com/office/powerpoint/2010/main" val="193953738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395536" y="1052736"/>
            <a:ext cx="6840760" cy="50783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GB" dirty="0" smtClean="0"/>
              <a:t>Data is very species specific and/or site specific, so accurate  national or provincial scale assessments are currently impossible.</a:t>
            </a:r>
          </a:p>
          <a:p>
            <a:pPr algn="just"/>
            <a:endParaRPr lang="en-GB" dirty="0" smtClean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GB" dirty="0" smtClean="0"/>
              <a:t>All signs (expert respondents, seizures, observations) indicate </a:t>
            </a:r>
            <a:r>
              <a:rPr lang="en-GB" dirty="0"/>
              <a:t>i</a:t>
            </a:r>
            <a:r>
              <a:rPr lang="en-GB" dirty="0" smtClean="0"/>
              <a:t>llegal wildlife trade in Indonesia is </a:t>
            </a:r>
            <a:r>
              <a:rPr lang="en-GB" b="1" dirty="0" smtClean="0"/>
              <a:t>rapidly increasing</a:t>
            </a:r>
            <a:r>
              <a:rPr lang="en-GB" dirty="0" smtClean="0"/>
              <a:t>, in </a:t>
            </a:r>
            <a:r>
              <a:rPr lang="en-GB" dirty="0"/>
              <a:t>line with increasing </a:t>
            </a:r>
            <a:r>
              <a:rPr lang="en-GB" dirty="0" smtClean="0"/>
              <a:t>domestic/regional/global demand.</a:t>
            </a:r>
          </a:p>
          <a:p>
            <a:pPr algn="just"/>
            <a:endParaRPr lang="en-GB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GB" b="1" dirty="0" smtClean="0"/>
              <a:t>Domestic demand </a:t>
            </a:r>
            <a:r>
              <a:rPr lang="en-GB" dirty="0" smtClean="0"/>
              <a:t>is key for some species – particularly birds. In 2008, poaching </a:t>
            </a:r>
            <a:r>
              <a:rPr lang="en-GB" dirty="0"/>
              <a:t>rates for parrots </a:t>
            </a:r>
            <a:r>
              <a:rPr lang="en-GB" dirty="0" smtClean="0"/>
              <a:t>from </a:t>
            </a:r>
            <a:r>
              <a:rPr lang="en-US" dirty="0" smtClean="0"/>
              <a:t>North </a:t>
            </a:r>
            <a:r>
              <a:rPr lang="en-US" dirty="0"/>
              <a:t>Halmahera, Maluku </a:t>
            </a:r>
            <a:r>
              <a:rPr lang="en-US" dirty="0" smtClean="0"/>
              <a:t>were an estimated at just under 1000 birds annually , </a:t>
            </a:r>
            <a:r>
              <a:rPr lang="en-US" dirty="0"/>
              <a:t>41% </a:t>
            </a:r>
            <a:r>
              <a:rPr lang="en-US" dirty="0" smtClean="0"/>
              <a:t>for export (Philippines), </a:t>
            </a:r>
            <a:r>
              <a:rPr lang="en-US" dirty="0"/>
              <a:t>and 59 % </a:t>
            </a:r>
            <a:r>
              <a:rPr lang="en-US" dirty="0" smtClean="0"/>
              <a:t>for domestic </a:t>
            </a:r>
            <a:r>
              <a:rPr lang="en-US" dirty="0"/>
              <a:t>trade</a:t>
            </a:r>
            <a:r>
              <a:rPr lang="en-US" dirty="0" smtClean="0"/>
              <a:t>.</a:t>
            </a:r>
          </a:p>
          <a:p>
            <a:pPr algn="just"/>
            <a:endParaRPr lang="en-US" dirty="0"/>
          </a:p>
          <a:p>
            <a:pPr marL="285750" lvl="0" indent="-285750" algn="just">
              <a:buFont typeface="Arial" panose="020B0604020202020204" pitchFamily="34" charset="0"/>
              <a:buChar char="•"/>
            </a:pPr>
            <a:r>
              <a:rPr lang="en-GB" dirty="0" smtClean="0"/>
              <a:t>When trade </a:t>
            </a:r>
            <a:r>
              <a:rPr lang="en-GB" dirty="0"/>
              <a:t>in one species </a:t>
            </a:r>
            <a:r>
              <a:rPr lang="en-GB" dirty="0" smtClean="0"/>
              <a:t>appears </a:t>
            </a:r>
            <a:r>
              <a:rPr lang="en-GB" dirty="0"/>
              <a:t>to fall, it usually reflects a </a:t>
            </a:r>
            <a:r>
              <a:rPr lang="en-GB" b="1" dirty="0"/>
              <a:t>switch to a different species</a:t>
            </a:r>
            <a:r>
              <a:rPr lang="en-GB" b="1" dirty="0" smtClean="0"/>
              <a:t>. </a:t>
            </a:r>
            <a:r>
              <a:rPr lang="en-GB" dirty="0" smtClean="0"/>
              <a:t>The trade in Indonesia is very dynamic..</a:t>
            </a:r>
            <a:endParaRPr lang="en-GB" dirty="0"/>
          </a:p>
          <a:p>
            <a:pPr algn="just"/>
            <a:endParaRPr lang="en-US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dirty="0" smtClean="0"/>
              <a:t>Trade in tigers, hornbills, elephant ivory, pangolins and other species is estimated to have increased four fold since 2010 according to respondents.</a:t>
            </a:r>
            <a:endParaRPr lang="en-GB" dirty="0"/>
          </a:p>
        </p:txBody>
      </p:sp>
      <p:sp>
        <p:nvSpPr>
          <p:cNvPr id="4" name="TextBox 3"/>
          <p:cNvSpPr txBox="1"/>
          <p:nvPr/>
        </p:nvSpPr>
        <p:spPr>
          <a:xfrm>
            <a:off x="179512" y="116632"/>
            <a:ext cx="777686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b="1" dirty="0" smtClean="0"/>
              <a:t>TRADE VOLUMES + DEMAND: KEY TRENDS</a:t>
            </a:r>
            <a:endParaRPr lang="en-GB" sz="2400" b="1" dirty="0"/>
          </a:p>
        </p:txBody>
      </p:sp>
      <p:grpSp>
        <p:nvGrpSpPr>
          <p:cNvPr id="15" name="Group 14"/>
          <p:cNvGrpSpPr/>
          <p:nvPr/>
        </p:nvGrpSpPr>
        <p:grpSpPr>
          <a:xfrm>
            <a:off x="7452320" y="1484784"/>
            <a:ext cx="1152128" cy="1296144"/>
            <a:chOff x="7308304" y="1772816"/>
            <a:chExt cx="1152128" cy="1296144"/>
          </a:xfrm>
        </p:grpSpPr>
        <p:sp>
          <p:nvSpPr>
            <p:cNvPr id="10" name="Rectangle 9"/>
            <p:cNvSpPr/>
            <p:nvPr/>
          </p:nvSpPr>
          <p:spPr>
            <a:xfrm>
              <a:off x="7524328" y="2348880"/>
              <a:ext cx="216024" cy="720080"/>
            </a:xfrm>
            <a:prstGeom prst="rect">
              <a:avLst/>
            </a:prstGeom>
            <a:solidFill>
              <a:srgbClr val="D7451D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1" name="Rectangle 10"/>
            <p:cNvSpPr/>
            <p:nvPr/>
          </p:nvSpPr>
          <p:spPr>
            <a:xfrm>
              <a:off x="7812360" y="1988840"/>
              <a:ext cx="216024" cy="1080120"/>
            </a:xfrm>
            <a:prstGeom prst="rect">
              <a:avLst/>
            </a:prstGeom>
            <a:solidFill>
              <a:srgbClr val="E4222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2" name="Rectangle 11"/>
            <p:cNvSpPr/>
            <p:nvPr/>
          </p:nvSpPr>
          <p:spPr>
            <a:xfrm>
              <a:off x="8100392" y="1772816"/>
              <a:ext cx="216024" cy="1296144"/>
            </a:xfrm>
            <a:prstGeom prst="rect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14" name="Straight Arrow Connector 13"/>
            <p:cNvCxnSpPr/>
            <p:nvPr/>
          </p:nvCxnSpPr>
          <p:spPr>
            <a:xfrm flipV="1">
              <a:off x="7308304" y="1988840"/>
              <a:ext cx="1152128" cy="1080120"/>
            </a:xfrm>
            <a:prstGeom prst="straightConnector1">
              <a:avLst/>
            </a:prstGeom>
            <a:ln w="25400">
              <a:solidFill>
                <a:schemeClr val="tx2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" name="Group 18"/>
          <p:cNvGrpSpPr/>
          <p:nvPr/>
        </p:nvGrpSpPr>
        <p:grpSpPr>
          <a:xfrm>
            <a:off x="7596336" y="4437112"/>
            <a:ext cx="864096" cy="501940"/>
            <a:chOff x="7740352" y="5229199"/>
            <a:chExt cx="864096" cy="501940"/>
          </a:xfrm>
        </p:grpSpPr>
        <p:sp>
          <p:nvSpPr>
            <p:cNvPr id="17" name="Right Arrow 16"/>
            <p:cNvSpPr/>
            <p:nvPr/>
          </p:nvSpPr>
          <p:spPr>
            <a:xfrm>
              <a:off x="7776356" y="5229199"/>
              <a:ext cx="828092" cy="216025"/>
            </a:xfrm>
            <a:prstGeom prst="rightArrow">
              <a:avLst/>
            </a:prstGeom>
            <a:solidFill>
              <a:schemeClr val="accent1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8" name="Right Arrow 17"/>
            <p:cNvSpPr/>
            <p:nvPr/>
          </p:nvSpPr>
          <p:spPr>
            <a:xfrm rot="10800000">
              <a:off x="7740352" y="5515114"/>
              <a:ext cx="828092" cy="216025"/>
            </a:xfrm>
            <a:prstGeom prst="rightArrow">
              <a:avLst/>
            </a:prstGeom>
            <a:solidFill>
              <a:schemeClr val="accent1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7596336" y="3272503"/>
            <a:ext cx="828092" cy="732561"/>
            <a:chOff x="7596336" y="3560535"/>
            <a:chExt cx="828092" cy="732561"/>
          </a:xfrm>
        </p:grpSpPr>
        <p:sp>
          <p:nvSpPr>
            <p:cNvPr id="20" name="Rectangle 19"/>
            <p:cNvSpPr/>
            <p:nvPr/>
          </p:nvSpPr>
          <p:spPr>
            <a:xfrm>
              <a:off x="7596336" y="3560535"/>
              <a:ext cx="828092" cy="156497"/>
            </a:xfrm>
            <a:prstGeom prst="rect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1" name="Rectangle 20"/>
            <p:cNvSpPr/>
            <p:nvPr/>
          </p:nvSpPr>
          <p:spPr>
            <a:xfrm>
              <a:off x="7596336" y="3717032"/>
              <a:ext cx="828092" cy="183140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24" name="Straight Connector 23"/>
            <p:cNvCxnSpPr>
              <a:stCxn id="20" idx="1"/>
            </p:cNvCxnSpPr>
            <p:nvPr/>
          </p:nvCxnSpPr>
          <p:spPr>
            <a:xfrm>
              <a:off x="7596336" y="3638784"/>
              <a:ext cx="0" cy="654312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9" name="Group 28"/>
          <p:cNvGrpSpPr/>
          <p:nvPr/>
        </p:nvGrpSpPr>
        <p:grpSpPr>
          <a:xfrm>
            <a:off x="7596336" y="5157192"/>
            <a:ext cx="1098122" cy="792088"/>
            <a:chOff x="7866366" y="5589240"/>
            <a:chExt cx="1098122" cy="792088"/>
          </a:xfrm>
        </p:grpSpPr>
        <p:sp>
          <p:nvSpPr>
            <p:cNvPr id="26" name="Multiply 25"/>
            <p:cNvSpPr/>
            <p:nvPr/>
          </p:nvSpPr>
          <p:spPr>
            <a:xfrm>
              <a:off x="7866366" y="5805264"/>
              <a:ext cx="450050" cy="576064"/>
            </a:xfrm>
            <a:prstGeom prst="mathMultiply">
              <a:avLst/>
            </a:prstGeom>
            <a:solidFill>
              <a:srgbClr val="25553B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8172400" y="5589240"/>
              <a:ext cx="792088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4400" b="1" dirty="0" smtClean="0">
                  <a:solidFill>
                    <a:srgbClr val="25553B"/>
                  </a:solidFill>
                </a:rPr>
                <a:t>4</a:t>
              </a:r>
              <a:endParaRPr lang="en-GB" b="1" dirty="0">
                <a:solidFill>
                  <a:srgbClr val="25553B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55198587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16632"/>
            <a:ext cx="8534400" cy="523875"/>
          </a:xfrm>
        </p:spPr>
        <p:txBody>
          <a:bodyPr/>
          <a:lstStyle/>
          <a:p>
            <a:r>
              <a:rPr lang="en-GB" sz="2400" dirty="0" smtClean="0"/>
              <a:t>Indicators of VOLUME</a:t>
            </a:r>
            <a:endParaRPr lang="en-GB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67744" y="764704"/>
            <a:ext cx="6590184" cy="864096"/>
          </a:xfrm>
        </p:spPr>
        <p:txBody>
          <a:bodyPr/>
          <a:lstStyle/>
          <a:p>
            <a:pPr marL="44450" indent="0">
              <a:buNone/>
            </a:pPr>
            <a:r>
              <a:rPr lang="en-GB" sz="2400" dirty="0" smtClean="0"/>
              <a:t>Number of pig nosed turtles seized in Indonesia between 2003-2012 destined for export (2012) </a:t>
            </a:r>
            <a:endParaRPr lang="en-GB" sz="2400" dirty="0"/>
          </a:p>
        </p:txBody>
      </p:sp>
      <p:sp>
        <p:nvSpPr>
          <p:cNvPr id="4" name="TextBox 3"/>
          <p:cNvSpPr txBox="1"/>
          <p:nvPr/>
        </p:nvSpPr>
        <p:spPr>
          <a:xfrm>
            <a:off x="449573" y="764704"/>
            <a:ext cx="172819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4000" b="1" dirty="0" smtClean="0">
                <a:solidFill>
                  <a:srgbClr val="FF0000"/>
                </a:solidFill>
              </a:rPr>
              <a:t>81,689</a:t>
            </a:r>
            <a:endParaRPr lang="en-GB" sz="4000" b="1" dirty="0">
              <a:solidFill>
                <a:srgbClr val="FF0000"/>
              </a:solidFill>
            </a:endParaRPr>
          </a:p>
        </p:txBody>
      </p:sp>
      <p:grpSp>
        <p:nvGrpSpPr>
          <p:cNvPr id="26" name="Group 25"/>
          <p:cNvGrpSpPr/>
          <p:nvPr/>
        </p:nvGrpSpPr>
        <p:grpSpPr>
          <a:xfrm>
            <a:off x="683568" y="1772816"/>
            <a:ext cx="8136904" cy="903005"/>
            <a:chOff x="683568" y="1857018"/>
            <a:chExt cx="8136904" cy="903005"/>
          </a:xfrm>
        </p:grpSpPr>
        <p:sp>
          <p:nvSpPr>
            <p:cNvPr id="5" name="TextBox 4"/>
            <p:cNvSpPr txBox="1"/>
            <p:nvPr/>
          </p:nvSpPr>
          <p:spPr>
            <a:xfrm>
              <a:off x="2339752" y="1929026"/>
              <a:ext cx="6480720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2400" dirty="0" smtClean="0"/>
                <a:t>Number of manta rays in Indonesia killed annually for their gill </a:t>
              </a:r>
              <a:r>
                <a:rPr lang="en-GB" sz="2400" dirty="0" err="1" smtClean="0"/>
                <a:t>rakers</a:t>
              </a:r>
              <a:r>
                <a:rPr lang="en-GB" sz="2400" dirty="0" smtClean="0"/>
                <a:t> before the ban (2012).</a:t>
              </a:r>
              <a:endParaRPr lang="en-GB" sz="2400" dirty="0"/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683568" y="1857018"/>
              <a:ext cx="1728192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4000" b="1" dirty="0" smtClean="0">
                  <a:solidFill>
                    <a:srgbClr val="FF0000"/>
                  </a:solidFill>
                </a:rPr>
                <a:t>1,320</a:t>
              </a:r>
              <a:endParaRPr lang="en-GB" sz="4000" b="1" dirty="0">
                <a:solidFill>
                  <a:srgbClr val="FF0000"/>
                </a:solidFill>
              </a:endParaRPr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899592" y="2721114"/>
            <a:ext cx="7920880" cy="1047021"/>
            <a:chOff x="899592" y="2348880"/>
            <a:chExt cx="7920880" cy="1047021"/>
          </a:xfrm>
        </p:grpSpPr>
        <p:sp>
          <p:nvSpPr>
            <p:cNvPr id="16" name="TextBox 15"/>
            <p:cNvSpPr txBox="1"/>
            <p:nvPr/>
          </p:nvSpPr>
          <p:spPr>
            <a:xfrm>
              <a:off x="899592" y="2348880"/>
              <a:ext cx="1368152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4000" b="1" dirty="0" smtClean="0">
                  <a:solidFill>
                    <a:srgbClr val="FF0000"/>
                  </a:solidFill>
                </a:rPr>
                <a:t>3-5</a:t>
              </a:r>
              <a:endParaRPr lang="en-GB" sz="4000" b="1" dirty="0">
                <a:solidFill>
                  <a:srgbClr val="FF0000"/>
                </a:solidFill>
              </a:endParaRP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2339752" y="2564904"/>
              <a:ext cx="6480720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2400" dirty="0" smtClean="0"/>
                <a:t>Number of live Sun-bears exported per day from Indonesia (2008)</a:t>
              </a:r>
              <a:endParaRPr lang="en-GB" sz="2400" dirty="0"/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467544" y="3873242"/>
            <a:ext cx="8352928" cy="903005"/>
            <a:chOff x="467544" y="3212976"/>
            <a:chExt cx="8352928" cy="903005"/>
          </a:xfrm>
        </p:grpSpPr>
        <p:sp>
          <p:nvSpPr>
            <p:cNvPr id="18" name="TextBox 17"/>
            <p:cNvSpPr txBox="1"/>
            <p:nvPr/>
          </p:nvSpPr>
          <p:spPr>
            <a:xfrm>
              <a:off x="467544" y="3212976"/>
              <a:ext cx="1872208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4000" b="1" dirty="0" smtClean="0">
                  <a:solidFill>
                    <a:srgbClr val="FF0000"/>
                  </a:solidFill>
                </a:rPr>
                <a:t>1260kg</a:t>
              </a:r>
              <a:endParaRPr lang="en-GB" sz="4000" b="1" dirty="0">
                <a:solidFill>
                  <a:srgbClr val="FF0000"/>
                </a:solidFill>
              </a:endParaRP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2339752" y="3284984"/>
              <a:ext cx="6480720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2400" dirty="0" smtClean="0"/>
                <a:t>The ivory sales from a </a:t>
              </a:r>
              <a:r>
                <a:rPr lang="en-GB" sz="2400" b="1" dirty="0" smtClean="0"/>
                <a:t>single</a:t>
              </a:r>
              <a:r>
                <a:rPr lang="en-GB" sz="2400" dirty="0" smtClean="0"/>
                <a:t> </a:t>
              </a:r>
              <a:r>
                <a:rPr lang="en-GB" sz="2400" b="1" dirty="0" smtClean="0"/>
                <a:t>trader</a:t>
              </a:r>
              <a:r>
                <a:rPr lang="en-GB" sz="2400" dirty="0" smtClean="0"/>
                <a:t> in Lampung since 2003 – equivalent to 47 elephants (2014)</a:t>
              </a:r>
              <a:endParaRPr lang="en-GB" sz="2400" dirty="0"/>
            </a:p>
          </p:txBody>
        </p:sp>
      </p:grpSp>
      <p:sp>
        <p:nvSpPr>
          <p:cNvPr id="20" name="Rectangle 19"/>
          <p:cNvSpPr/>
          <p:nvPr/>
        </p:nvSpPr>
        <p:spPr>
          <a:xfrm>
            <a:off x="1003671" y="5085184"/>
            <a:ext cx="688009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4000" b="1" dirty="0" smtClean="0">
                <a:solidFill>
                  <a:srgbClr val="FF0000"/>
                </a:solidFill>
              </a:rPr>
              <a:t>55</a:t>
            </a:r>
            <a:endParaRPr lang="en-GB" sz="4000" b="1" dirty="0">
              <a:solidFill>
                <a:srgbClr val="FF0000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339752" y="5157192"/>
            <a:ext cx="625631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 smtClean="0"/>
              <a:t>Number of tiger related cases investigated by WCS Wildlife Crime Unit since 2003 (2015)</a:t>
            </a:r>
          </a:p>
        </p:txBody>
      </p:sp>
    </p:spTree>
    <p:extLst>
      <p:ext uri="{BB962C8B-B14F-4D97-AF65-F5344CB8AC3E}">
        <p14:creationId xmlns:p14="http://schemas.microsoft.com/office/powerpoint/2010/main" val="637935365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4" grpId="0"/>
      <p:bldP spid="20" grpId="0"/>
      <p:bldP spid="21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16632"/>
            <a:ext cx="8534400" cy="523875"/>
          </a:xfrm>
        </p:spPr>
        <p:txBody>
          <a:bodyPr/>
          <a:lstStyle/>
          <a:p>
            <a:r>
              <a:rPr lang="en-GB" sz="2400" dirty="0" smtClean="0"/>
              <a:t>Indicators of volume</a:t>
            </a:r>
            <a:endParaRPr lang="en-GB" sz="2400" dirty="0"/>
          </a:p>
        </p:txBody>
      </p:sp>
      <p:sp>
        <p:nvSpPr>
          <p:cNvPr id="4" name="Content Placeholder 3"/>
          <p:cNvSpPr txBox="1">
            <a:spLocks noGrp="1"/>
          </p:cNvSpPr>
          <p:nvPr>
            <p:ph idx="1"/>
          </p:nvPr>
        </p:nvSpPr>
        <p:spPr>
          <a:xfrm>
            <a:off x="323528" y="980728"/>
            <a:ext cx="85344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4450" indent="0">
              <a:buNone/>
            </a:pPr>
            <a:r>
              <a:rPr lang="en-GB" sz="4000" b="1" dirty="0" smtClean="0">
                <a:solidFill>
                  <a:srgbClr val="FF0000"/>
                </a:solidFill>
              </a:rPr>
              <a:t>5,000</a:t>
            </a:r>
            <a:endParaRPr lang="en-GB" sz="4000" b="1" dirty="0">
              <a:solidFill>
                <a:srgbClr val="FF0000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267744" y="1124744"/>
            <a:ext cx="655272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 smtClean="0"/>
              <a:t>Number of helmeted hornbills poached between 2012-2013 across Indonesia (2014)</a:t>
            </a:r>
            <a:endParaRPr lang="en-GB" sz="2400" dirty="0"/>
          </a:p>
        </p:txBody>
      </p:sp>
      <p:grpSp>
        <p:nvGrpSpPr>
          <p:cNvPr id="6" name="Group 5"/>
          <p:cNvGrpSpPr/>
          <p:nvPr/>
        </p:nvGrpSpPr>
        <p:grpSpPr>
          <a:xfrm>
            <a:off x="539552" y="2060848"/>
            <a:ext cx="8280920" cy="1260143"/>
            <a:chOff x="876779" y="4089266"/>
            <a:chExt cx="8280920" cy="1260143"/>
          </a:xfrm>
        </p:grpSpPr>
        <p:sp>
          <p:nvSpPr>
            <p:cNvPr id="7" name="Rectangle 6"/>
            <p:cNvSpPr/>
            <p:nvPr/>
          </p:nvSpPr>
          <p:spPr>
            <a:xfrm>
              <a:off x="876779" y="4089266"/>
              <a:ext cx="958917" cy="70788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4000" b="1" dirty="0">
                  <a:solidFill>
                    <a:srgbClr val="FF0000"/>
                  </a:solidFill>
                </a:rPr>
                <a:t>714</a:t>
              </a:r>
              <a:endParaRPr lang="en-GB" sz="4000" b="1" dirty="0">
                <a:solidFill>
                  <a:srgbClr val="FF0000"/>
                </a:solidFill>
              </a:endParaRP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2604971" y="4149080"/>
              <a:ext cx="6552728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2400" dirty="0" smtClean="0"/>
                <a:t>Number of slow </a:t>
              </a:r>
              <a:r>
                <a:rPr lang="en-GB" sz="2400" dirty="0" err="1" smtClean="0"/>
                <a:t>loris</a:t>
              </a:r>
              <a:r>
                <a:rPr lang="en-GB" sz="2400" dirty="0" smtClean="0"/>
                <a:t> (</a:t>
              </a:r>
              <a:r>
                <a:rPr lang="en-US" sz="2400" i="1" dirty="0" err="1"/>
                <a:t>Nycticebus</a:t>
              </a:r>
              <a:r>
                <a:rPr lang="en-US" sz="2400" i="1" dirty="0"/>
                <a:t> </a:t>
              </a:r>
              <a:r>
                <a:rPr lang="en-US" sz="2400" i="1" dirty="0" err="1" smtClean="0"/>
                <a:t>coucang</a:t>
              </a:r>
              <a:r>
                <a:rPr lang="en-US" sz="2400" i="1" dirty="0" smtClean="0"/>
                <a:t>) </a:t>
              </a:r>
              <a:r>
                <a:rPr lang="en-GB" sz="2400" dirty="0" smtClean="0"/>
                <a:t>observed for sale in 2 markets in Medan between 1997-2008 (2008)</a:t>
              </a:r>
              <a:endParaRPr lang="en-GB" sz="2400" dirty="0"/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603879" y="3362216"/>
            <a:ext cx="7992185" cy="1938992"/>
            <a:chOff x="603879" y="5241975"/>
            <a:chExt cx="7992185" cy="1938992"/>
          </a:xfrm>
        </p:grpSpPr>
        <p:sp>
          <p:nvSpPr>
            <p:cNvPr id="10" name="Rectangle 9"/>
            <p:cNvSpPr/>
            <p:nvPr/>
          </p:nvSpPr>
          <p:spPr>
            <a:xfrm>
              <a:off x="603879" y="5392961"/>
              <a:ext cx="871777" cy="70788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4000" b="1" dirty="0" smtClean="0">
                  <a:solidFill>
                    <a:srgbClr val="FF0000"/>
                  </a:solidFill>
                </a:rPr>
                <a:t>25t</a:t>
              </a:r>
              <a:endParaRPr lang="en-GB" sz="4000" b="1" dirty="0">
                <a:solidFill>
                  <a:srgbClr val="FF0000"/>
                </a:solidFill>
              </a:endParaRP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2339752" y="5241975"/>
              <a:ext cx="6256312" cy="193899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2400" dirty="0" smtClean="0"/>
                <a:t>A single shipment of pangolin scales observed in Sumatra in 2008. Equivalent shipments are thought to be leaving Sumatra each month. One kilo of pangolin scales is equivalent to 4 animals</a:t>
              </a:r>
              <a:r>
                <a:rPr lang="en-GB" sz="2400" dirty="0"/>
                <a:t> </a:t>
              </a:r>
              <a:r>
                <a:rPr lang="en-GB" sz="2400" dirty="0" smtClean="0"/>
                <a:t>(2008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41179194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  <p:bldP spid="5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ASE Studies - </a:t>
            </a:r>
            <a:r>
              <a:rPr lang="en-GB" dirty="0" err="1" smtClean="0"/>
              <a:t>sulawesi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528" y="764704"/>
            <a:ext cx="8534400" cy="5702424"/>
          </a:xfrm>
        </p:spPr>
        <p:txBody>
          <a:bodyPr/>
          <a:lstStyle/>
          <a:p>
            <a:r>
              <a:rPr lang="en-GB" dirty="0" smtClean="0"/>
              <a:t> </a:t>
            </a:r>
            <a:r>
              <a:rPr lang="en-GB" dirty="0"/>
              <a:t>Wildlife </a:t>
            </a:r>
            <a:r>
              <a:rPr lang="en-GB" dirty="0" smtClean="0"/>
              <a:t>passing through Sulawesi often destined </a:t>
            </a:r>
            <a:r>
              <a:rPr lang="en-GB" dirty="0"/>
              <a:t>for the </a:t>
            </a:r>
            <a:r>
              <a:rPr lang="en-GB" dirty="0" smtClean="0"/>
              <a:t>Philippines</a:t>
            </a:r>
            <a:endParaRPr lang="en-GB" dirty="0"/>
          </a:p>
          <a:p>
            <a:r>
              <a:rPr lang="en-GB" dirty="0"/>
              <a:t>NGO investigators recorded hundreds of Indonesian species at markets, pet shops, zoos in Manila, General Santos, Davao, and other towns in </a:t>
            </a:r>
            <a:r>
              <a:rPr lang="en-GB" dirty="0" smtClean="0"/>
              <a:t>Mindanao (2002)</a:t>
            </a:r>
            <a:endParaRPr lang="en-GB" dirty="0"/>
          </a:p>
          <a:p>
            <a:r>
              <a:rPr lang="en-GB" dirty="0"/>
              <a:t>Bornean </a:t>
            </a:r>
            <a:r>
              <a:rPr lang="en-GB" dirty="0" err="1"/>
              <a:t>orangutan</a:t>
            </a:r>
            <a:r>
              <a:rPr lang="en-GB" dirty="0"/>
              <a:t>, gibbons and </a:t>
            </a:r>
            <a:r>
              <a:rPr lang="en-GB" dirty="0" smtClean="0"/>
              <a:t>sun bears were </a:t>
            </a:r>
            <a:r>
              <a:rPr lang="en-GB" dirty="0"/>
              <a:t>seized by North </a:t>
            </a:r>
            <a:r>
              <a:rPr lang="en-GB" dirty="0" err="1"/>
              <a:t>Minahasa</a:t>
            </a:r>
            <a:r>
              <a:rPr lang="en-GB" dirty="0"/>
              <a:t> police from a smuggler attempting to reach </a:t>
            </a:r>
            <a:r>
              <a:rPr lang="en-GB" dirty="0" err="1" smtClean="0"/>
              <a:t>Bitung</a:t>
            </a:r>
            <a:r>
              <a:rPr lang="en-GB" dirty="0" smtClean="0"/>
              <a:t> to </a:t>
            </a:r>
            <a:r>
              <a:rPr lang="en-GB" dirty="0"/>
              <a:t>board a ship to the Philippines (2004)</a:t>
            </a:r>
          </a:p>
          <a:p>
            <a:r>
              <a:rPr lang="en-GB" dirty="0" smtClean="0"/>
              <a:t>Forestry </a:t>
            </a:r>
            <a:r>
              <a:rPr lang="en-GB" dirty="0"/>
              <a:t>police seized a critically </a:t>
            </a:r>
            <a:r>
              <a:rPr lang="en-GB" dirty="0" smtClean="0"/>
              <a:t>endangered </a:t>
            </a:r>
            <a:r>
              <a:rPr lang="en-GB" dirty="0" err="1" smtClean="0"/>
              <a:t>Javan</a:t>
            </a:r>
            <a:r>
              <a:rPr lang="en-GB" dirty="0" smtClean="0"/>
              <a:t> Leopard </a:t>
            </a:r>
            <a:r>
              <a:rPr lang="en-GB" dirty="0"/>
              <a:t>from a smuggler seeking a buyer in the Philippines. Later returned to </a:t>
            </a:r>
            <a:r>
              <a:rPr lang="en-GB" dirty="0" smtClean="0"/>
              <a:t>Java (2006)</a:t>
            </a:r>
            <a:endParaRPr lang="en-GB" dirty="0"/>
          </a:p>
          <a:p>
            <a:r>
              <a:rPr lang="en-GB" dirty="0"/>
              <a:t>Talaud Police seized 111 Red &amp; Blue Lories from a man attempting to board a ship to the </a:t>
            </a:r>
            <a:r>
              <a:rPr lang="en-GB" dirty="0" smtClean="0"/>
              <a:t>Philippines (2013)</a:t>
            </a:r>
            <a:r>
              <a:rPr lang="en-GB" dirty="0"/>
              <a:t> </a:t>
            </a:r>
            <a:endParaRPr lang="en-GB" dirty="0" smtClean="0"/>
          </a:p>
          <a:p>
            <a:r>
              <a:rPr lang="en-GB" dirty="0" err="1" smtClean="0"/>
              <a:t>Bitung</a:t>
            </a:r>
            <a:r>
              <a:rPr lang="en-GB" dirty="0" smtClean="0"/>
              <a:t> police </a:t>
            </a:r>
            <a:r>
              <a:rPr lang="en-GB" dirty="0"/>
              <a:t>seized a Sumatran Sun bear ready for shipping, reported tigers had already gone (2014)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97285002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206942" y="179348"/>
            <a:ext cx="78314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b="1" dirty="0" smtClean="0"/>
              <a:t>MARKET CHARACTERISTICS: KEY TRENDS</a:t>
            </a:r>
            <a:endParaRPr lang="en-GB" sz="2400" b="1" dirty="0"/>
          </a:p>
        </p:txBody>
      </p:sp>
      <p:sp>
        <p:nvSpPr>
          <p:cNvPr id="4" name="TextBox 3"/>
          <p:cNvSpPr txBox="1"/>
          <p:nvPr/>
        </p:nvSpPr>
        <p:spPr>
          <a:xfrm>
            <a:off x="206942" y="920908"/>
            <a:ext cx="6741322" cy="62478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GB" sz="2000" dirty="0"/>
              <a:t>Wildlife trade is increasingly well organised – visibility is declining though still relatively open compared to many countries.</a:t>
            </a:r>
          </a:p>
          <a:p>
            <a:pPr algn="just"/>
            <a:endParaRPr lang="en-GB" sz="2000" dirty="0" smtClean="0"/>
          </a:p>
          <a:p>
            <a:pPr algn="just"/>
            <a:endParaRPr lang="en-GB" sz="2000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GB" sz="2000" dirty="0"/>
              <a:t>There are reports of hunters being equipped and funded by buyers/traders to collect specific species – ‘poaching to order’</a:t>
            </a:r>
          </a:p>
          <a:p>
            <a:pPr algn="just"/>
            <a:endParaRPr lang="en-GB" sz="2000" dirty="0" smtClean="0"/>
          </a:p>
          <a:p>
            <a:pPr algn="just"/>
            <a:endParaRPr lang="en-GB" sz="2000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GB" sz="2000" dirty="0"/>
              <a:t>Online trade is growing rapidly in response to limited enforcement capacity.</a:t>
            </a:r>
          </a:p>
          <a:p>
            <a:pPr algn="just"/>
            <a:endParaRPr lang="en-GB" sz="2000" dirty="0" smtClean="0"/>
          </a:p>
          <a:p>
            <a:pPr algn="just"/>
            <a:endParaRPr lang="en-GB" sz="2000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GB" sz="2000" dirty="0"/>
              <a:t>Wildlife traders are increasingly using disconnected network systems, like drug traffickers, as well as unidentified methods to get through custom exit point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20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2000" dirty="0"/>
          </a:p>
        </p:txBody>
      </p:sp>
      <p:grpSp>
        <p:nvGrpSpPr>
          <p:cNvPr id="108" name="Group 107"/>
          <p:cNvGrpSpPr/>
          <p:nvPr/>
        </p:nvGrpSpPr>
        <p:grpSpPr>
          <a:xfrm>
            <a:off x="7005744" y="5517232"/>
            <a:ext cx="1586117" cy="369332"/>
            <a:chOff x="2853206" y="5733256"/>
            <a:chExt cx="1586117" cy="369332"/>
          </a:xfrm>
        </p:grpSpPr>
        <p:grpSp>
          <p:nvGrpSpPr>
            <p:cNvPr id="33" name="Group 32"/>
            <p:cNvGrpSpPr/>
            <p:nvPr/>
          </p:nvGrpSpPr>
          <p:grpSpPr>
            <a:xfrm>
              <a:off x="3111438" y="5733256"/>
              <a:ext cx="1146175" cy="269321"/>
              <a:chOff x="2915816" y="4593940"/>
              <a:chExt cx="1146175" cy="269321"/>
            </a:xfrm>
          </p:grpSpPr>
          <p:sp>
            <p:nvSpPr>
              <p:cNvPr id="103" name="Line 120"/>
              <p:cNvSpPr>
                <a:spLocks noChangeShapeType="1"/>
              </p:cNvSpPr>
              <p:nvPr/>
            </p:nvSpPr>
            <p:spPr bwMode="gray">
              <a:xfrm>
                <a:off x="2915816" y="4725144"/>
                <a:ext cx="1146175" cy="0"/>
              </a:xfrm>
              <a:prstGeom prst="line">
                <a:avLst/>
              </a:prstGeom>
              <a:noFill/>
              <a:ln w="28575">
                <a:solidFill>
                  <a:srgbClr val="25553B"/>
                </a:solidFill>
                <a:round/>
                <a:headEnd type="arrow"/>
                <a:tailEnd type="triangle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cxnSp>
            <p:nvCxnSpPr>
              <p:cNvPr id="104" name="AutoShape 123"/>
              <p:cNvCxnSpPr>
                <a:cxnSpLocks noChangeShapeType="1"/>
              </p:cNvCxnSpPr>
              <p:nvPr/>
            </p:nvCxnSpPr>
            <p:spPr bwMode="gray">
              <a:xfrm flipH="1">
                <a:off x="3694268" y="4593940"/>
                <a:ext cx="93085" cy="269321"/>
              </a:xfrm>
              <a:prstGeom prst="straightConnector1">
                <a:avLst/>
              </a:prstGeom>
              <a:noFill/>
              <a:ln w="28575">
                <a:solidFill>
                  <a:srgbClr val="25553B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05" name="AutoShape 124"/>
              <p:cNvCxnSpPr>
                <a:cxnSpLocks noChangeShapeType="1"/>
              </p:cNvCxnSpPr>
              <p:nvPr/>
            </p:nvCxnSpPr>
            <p:spPr bwMode="gray">
              <a:xfrm flipH="1">
                <a:off x="3637984" y="4593940"/>
                <a:ext cx="93085" cy="269321"/>
              </a:xfrm>
              <a:prstGeom prst="straightConnector1">
                <a:avLst/>
              </a:prstGeom>
              <a:noFill/>
              <a:ln w="28575">
                <a:solidFill>
                  <a:srgbClr val="25553B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sp>
          <p:nvSpPr>
            <p:cNvPr id="106" name="TextBox 105"/>
            <p:cNvSpPr txBox="1"/>
            <p:nvPr/>
          </p:nvSpPr>
          <p:spPr>
            <a:xfrm>
              <a:off x="2853206" y="5733256"/>
              <a:ext cx="350642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GB" dirty="0" smtClean="0"/>
                <a:t>A</a:t>
              </a:r>
              <a:endParaRPr lang="en-GB" dirty="0"/>
            </a:p>
          </p:txBody>
        </p:sp>
        <p:sp>
          <p:nvSpPr>
            <p:cNvPr id="107" name="TextBox 106"/>
            <p:cNvSpPr txBox="1"/>
            <p:nvPr/>
          </p:nvSpPr>
          <p:spPr>
            <a:xfrm>
              <a:off x="4223299" y="5733256"/>
              <a:ext cx="216024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GB" dirty="0" smtClean="0"/>
                <a:t>B</a:t>
              </a:r>
              <a:endParaRPr lang="en-GB" dirty="0"/>
            </a:p>
          </p:txBody>
        </p:sp>
      </p:grpSp>
      <p:grpSp>
        <p:nvGrpSpPr>
          <p:cNvPr id="153" name="Group 152"/>
          <p:cNvGrpSpPr/>
          <p:nvPr/>
        </p:nvGrpSpPr>
        <p:grpSpPr>
          <a:xfrm>
            <a:off x="7380312" y="978873"/>
            <a:ext cx="720080" cy="721935"/>
            <a:chOff x="7424393" y="764704"/>
            <a:chExt cx="856019" cy="666522"/>
          </a:xfrm>
        </p:grpSpPr>
        <p:grpSp>
          <p:nvGrpSpPr>
            <p:cNvPr id="90" name="Group 89"/>
            <p:cNvGrpSpPr/>
            <p:nvPr/>
          </p:nvGrpSpPr>
          <p:grpSpPr>
            <a:xfrm>
              <a:off x="7424393" y="764704"/>
              <a:ext cx="494694" cy="666522"/>
              <a:chOff x="3405188" y="614363"/>
              <a:chExt cx="2828925" cy="3600450"/>
            </a:xfrm>
          </p:grpSpPr>
          <p:grpSp>
            <p:nvGrpSpPr>
              <p:cNvPr id="91" name="Group 35"/>
              <p:cNvGrpSpPr>
                <a:grpSpLocks/>
              </p:cNvGrpSpPr>
              <p:nvPr/>
            </p:nvGrpSpPr>
            <p:grpSpPr bwMode="auto">
              <a:xfrm rot="21485473" flipH="1">
                <a:off x="3659188" y="614363"/>
                <a:ext cx="2574925" cy="2365375"/>
                <a:chOff x="412" y="1300"/>
                <a:chExt cx="1203" cy="1195"/>
              </a:xfrm>
            </p:grpSpPr>
            <p:grpSp>
              <p:nvGrpSpPr>
                <p:cNvPr id="134" name="Group 36"/>
                <p:cNvGrpSpPr>
                  <a:grpSpLocks/>
                </p:cNvGrpSpPr>
                <p:nvPr/>
              </p:nvGrpSpPr>
              <p:grpSpPr bwMode="auto">
                <a:xfrm>
                  <a:off x="434" y="1314"/>
                  <a:ext cx="1181" cy="1180"/>
                  <a:chOff x="434" y="1314"/>
                  <a:chExt cx="1181" cy="1180"/>
                </a:xfrm>
              </p:grpSpPr>
              <p:grpSp>
                <p:nvGrpSpPr>
                  <p:cNvPr id="140" name="Group 37"/>
                  <p:cNvGrpSpPr>
                    <a:grpSpLocks/>
                  </p:cNvGrpSpPr>
                  <p:nvPr/>
                </p:nvGrpSpPr>
                <p:grpSpPr bwMode="auto">
                  <a:xfrm>
                    <a:off x="434" y="1314"/>
                    <a:ext cx="1181" cy="1180"/>
                    <a:chOff x="434" y="1314"/>
                    <a:chExt cx="1181" cy="1180"/>
                  </a:xfrm>
                </p:grpSpPr>
                <p:sp>
                  <p:nvSpPr>
                    <p:cNvPr id="146" name="Freeform 38"/>
                    <p:cNvSpPr>
                      <a:spLocks/>
                    </p:cNvSpPr>
                    <p:nvPr/>
                  </p:nvSpPr>
                  <p:spPr bwMode="invGray">
                    <a:xfrm>
                      <a:off x="434" y="1314"/>
                      <a:ext cx="1003" cy="685"/>
                    </a:xfrm>
                    <a:custGeom>
                      <a:avLst/>
                      <a:gdLst>
                        <a:gd name="T0" fmla="*/ 21 w 1003"/>
                        <a:gd name="T1" fmla="*/ 685 h 685"/>
                        <a:gd name="T2" fmla="*/ 6 w 1003"/>
                        <a:gd name="T3" fmla="*/ 604 h 685"/>
                        <a:gd name="T4" fmla="*/ 0 w 1003"/>
                        <a:gd name="T5" fmla="*/ 526 h 685"/>
                        <a:gd name="T6" fmla="*/ 3 w 1003"/>
                        <a:gd name="T7" fmla="*/ 472 h 685"/>
                        <a:gd name="T8" fmla="*/ 12 w 1003"/>
                        <a:gd name="T9" fmla="*/ 423 h 685"/>
                        <a:gd name="T10" fmla="*/ 27 w 1003"/>
                        <a:gd name="T11" fmla="*/ 369 h 685"/>
                        <a:gd name="T12" fmla="*/ 51 w 1003"/>
                        <a:gd name="T13" fmla="*/ 315 h 685"/>
                        <a:gd name="T14" fmla="*/ 81 w 1003"/>
                        <a:gd name="T15" fmla="*/ 258 h 685"/>
                        <a:gd name="T16" fmla="*/ 111 w 1003"/>
                        <a:gd name="T17" fmla="*/ 213 h 685"/>
                        <a:gd name="T18" fmla="*/ 147 w 1003"/>
                        <a:gd name="T19" fmla="*/ 168 h 685"/>
                        <a:gd name="T20" fmla="*/ 189 w 1003"/>
                        <a:gd name="T21" fmla="*/ 129 h 685"/>
                        <a:gd name="T22" fmla="*/ 231 w 1003"/>
                        <a:gd name="T23" fmla="*/ 96 h 685"/>
                        <a:gd name="T24" fmla="*/ 276 w 1003"/>
                        <a:gd name="T25" fmla="*/ 69 h 685"/>
                        <a:gd name="T26" fmla="*/ 331 w 1003"/>
                        <a:gd name="T27" fmla="*/ 45 h 685"/>
                        <a:gd name="T28" fmla="*/ 394 w 1003"/>
                        <a:gd name="T29" fmla="*/ 24 h 685"/>
                        <a:gd name="T30" fmla="*/ 448 w 1003"/>
                        <a:gd name="T31" fmla="*/ 9 h 685"/>
                        <a:gd name="T32" fmla="*/ 514 w 1003"/>
                        <a:gd name="T33" fmla="*/ 0 h 685"/>
                        <a:gd name="T34" fmla="*/ 598 w 1003"/>
                        <a:gd name="T35" fmla="*/ 0 h 685"/>
                        <a:gd name="T36" fmla="*/ 661 w 1003"/>
                        <a:gd name="T37" fmla="*/ 12 h 685"/>
                        <a:gd name="T38" fmla="*/ 736 w 1003"/>
                        <a:gd name="T39" fmla="*/ 30 h 685"/>
                        <a:gd name="T40" fmla="*/ 811 w 1003"/>
                        <a:gd name="T41" fmla="*/ 63 h 685"/>
                        <a:gd name="T42" fmla="*/ 877 w 1003"/>
                        <a:gd name="T43" fmla="*/ 102 h 685"/>
                        <a:gd name="T44" fmla="*/ 922 w 1003"/>
                        <a:gd name="T45" fmla="*/ 141 h 685"/>
                        <a:gd name="T46" fmla="*/ 967 w 1003"/>
                        <a:gd name="T47" fmla="*/ 186 h 685"/>
                        <a:gd name="T48" fmla="*/ 1003 w 1003"/>
                        <a:gd name="T49" fmla="*/ 231 h 685"/>
                        <a:gd name="T50" fmla="*/ 907 w 1003"/>
                        <a:gd name="T51" fmla="*/ 159 h 685"/>
                        <a:gd name="T52" fmla="*/ 856 w 1003"/>
                        <a:gd name="T53" fmla="*/ 129 h 685"/>
                        <a:gd name="T54" fmla="*/ 802 w 1003"/>
                        <a:gd name="T55" fmla="*/ 108 h 685"/>
                        <a:gd name="T56" fmla="*/ 733 w 1003"/>
                        <a:gd name="T57" fmla="*/ 87 h 685"/>
                        <a:gd name="T58" fmla="*/ 667 w 1003"/>
                        <a:gd name="T59" fmla="*/ 78 h 685"/>
                        <a:gd name="T60" fmla="*/ 595 w 1003"/>
                        <a:gd name="T61" fmla="*/ 75 h 685"/>
                        <a:gd name="T62" fmla="*/ 541 w 1003"/>
                        <a:gd name="T63" fmla="*/ 78 h 685"/>
                        <a:gd name="T64" fmla="*/ 484 w 1003"/>
                        <a:gd name="T65" fmla="*/ 87 h 685"/>
                        <a:gd name="T66" fmla="*/ 427 w 1003"/>
                        <a:gd name="T67" fmla="*/ 102 h 685"/>
                        <a:gd name="T68" fmla="*/ 373 w 1003"/>
                        <a:gd name="T69" fmla="*/ 120 h 685"/>
                        <a:gd name="T70" fmla="*/ 313 w 1003"/>
                        <a:gd name="T71" fmla="*/ 150 h 685"/>
                        <a:gd name="T72" fmla="*/ 267 w 1003"/>
                        <a:gd name="T73" fmla="*/ 177 h 685"/>
                        <a:gd name="T74" fmla="*/ 228 w 1003"/>
                        <a:gd name="T75" fmla="*/ 210 h 685"/>
                        <a:gd name="T76" fmla="*/ 183 w 1003"/>
                        <a:gd name="T77" fmla="*/ 246 h 685"/>
                        <a:gd name="T78" fmla="*/ 147 w 1003"/>
                        <a:gd name="T79" fmla="*/ 285 h 685"/>
                        <a:gd name="T80" fmla="*/ 111 w 1003"/>
                        <a:gd name="T81" fmla="*/ 339 h 685"/>
                        <a:gd name="T82" fmla="*/ 78 w 1003"/>
                        <a:gd name="T83" fmla="*/ 396 h 685"/>
                        <a:gd name="T84" fmla="*/ 57 w 1003"/>
                        <a:gd name="T85" fmla="*/ 450 h 685"/>
                        <a:gd name="T86" fmla="*/ 39 w 1003"/>
                        <a:gd name="T87" fmla="*/ 514 h 685"/>
                        <a:gd name="T88" fmla="*/ 27 w 1003"/>
                        <a:gd name="T89" fmla="*/ 592 h 685"/>
                        <a:gd name="T90" fmla="*/ 21 w 1003"/>
                        <a:gd name="T91" fmla="*/ 685 h 68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</a:cxnLst>
                      <a:rect l="0" t="0" r="r" b="b"/>
                      <a:pathLst>
                        <a:path w="1003" h="685">
                          <a:moveTo>
                            <a:pt x="21" y="685"/>
                          </a:moveTo>
                          <a:lnTo>
                            <a:pt x="6" y="604"/>
                          </a:lnTo>
                          <a:lnTo>
                            <a:pt x="0" y="526"/>
                          </a:lnTo>
                          <a:lnTo>
                            <a:pt x="3" y="472"/>
                          </a:lnTo>
                          <a:lnTo>
                            <a:pt x="12" y="423"/>
                          </a:lnTo>
                          <a:lnTo>
                            <a:pt x="27" y="369"/>
                          </a:lnTo>
                          <a:lnTo>
                            <a:pt x="51" y="315"/>
                          </a:lnTo>
                          <a:lnTo>
                            <a:pt x="81" y="258"/>
                          </a:lnTo>
                          <a:lnTo>
                            <a:pt x="111" y="213"/>
                          </a:lnTo>
                          <a:lnTo>
                            <a:pt x="147" y="168"/>
                          </a:lnTo>
                          <a:lnTo>
                            <a:pt x="189" y="129"/>
                          </a:lnTo>
                          <a:lnTo>
                            <a:pt x="231" y="96"/>
                          </a:lnTo>
                          <a:lnTo>
                            <a:pt x="276" y="69"/>
                          </a:lnTo>
                          <a:lnTo>
                            <a:pt x="331" y="45"/>
                          </a:lnTo>
                          <a:lnTo>
                            <a:pt x="394" y="24"/>
                          </a:lnTo>
                          <a:lnTo>
                            <a:pt x="448" y="9"/>
                          </a:lnTo>
                          <a:lnTo>
                            <a:pt x="514" y="0"/>
                          </a:lnTo>
                          <a:lnTo>
                            <a:pt x="598" y="0"/>
                          </a:lnTo>
                          <a:lnTo>
                            <a:pt x="661" y="12"/>
                          </a:lnTo>
                          <a:lnTo>
                            <a:pt x="736" y="30"/>
                          </a:lnTo>
                          <a:lnTo>
                            <a:pt x="811" y="63"/>
                          </a:lnTo>
                          <a:lnTo>
                            <a:pt x="877" y="102"/>
                          </a:lnTo>
                          <a:lnTo>
                            <a:pt x="922" y="141"/>
                          </a:lnTo>
                          <a:lnTo>
                            <a:pt x="967" y="186"/>
                          </a:lnTo>
                          <a:lnTo>
                            <a:pt x="1003" y="231"/>
                          </a:lnTo>
                          <a:lnTo>
                            <a:pt x="907" y="159"/>
                          </a:lnTo>
                          <a:lnTo>
                            <a:pt x="856" y="129"/>
                          </a:lnTo>
                          <a:lnTo>
                            <a:pt x="802" y="108"/>
                          </a:lnTo>
                          <a:lnTo>
                            <a:pt x="733" y="87"/>
                          </a:lnTo>
                          <a:lnTo>
                            <a:pt x="667" y="78"/>
                          </a:lnTo>
                          <a:lnTo>
                            <a:pt x="595" y="75"/>
                          </a:lnTo>
                          <a:lnTo>
                            <a:pt x="541" y="78"/>
                          </a:lnTo>
                          <a:lnTo>
                            <a:pt x="484" y="87"/>
                          </a:lnTo>
                          <a:lnTo>
                            <a:pt x="427" y="102"/>
                          </a:lnTo>
                          <a:lnTo>
                            <a:pt x="373" y="120"/>
                          </a:lnTo>
                          <a:lnTo>
                            <a:pt x="313" y="150"/>
                          </a:lnTo>
                          <a:lnTo>
                            <a:pt x="267" y="177"/>
                          </a:lnTo>
                          <a:lnTo>
                            <a:pt x="228" y="210"/>
                          </a:lnTo>
                          <a:lnTo>
                            <a:pt x="183" y="246"/>
                          </a:lnTo>
                          <a:lnTo>
                            <a:pt x="147" y="285"/>
                          </a:lnTo>
                          <a:lnTo>
                            <a:pt x="111" y="339"/>
                          </a:lnTo>
                          <a:lnTo>
                            <a:pt x="78" y="396"/>
                          </a:lnTo>
                          <a:lnTo>
                            <a:pt x="57" y="450"/>
                          </a:lnTo>
                          <a:lnTo>
                            <a:pt x="39" y="514"/>
                          </a:lnTo>
                          <a:lnTo>
                            <a:pt x="27" y="592"/>
                          </a:lnTo>
                          <a:lnTo>
                            <a:pt x="21" y="685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GB"/>
                    </a:p>
                  </p:txBody>
                </p:sp>
                <p:sp>
                  <p:nvSpPr>
                    <p:cNvPr id="147" name="Freeform 39"/>
                    <p:cNvSpPr>
                      <a:spLocks/>
                    </p:cNvSpPr>
                    <p:nvPr/>
                  </p:nvSpPr>
                  <p:spPr bwMode="invGray">
                    <a:xfrm>
                      <a:off x="509" y="1653"/>
                      <a:ext cx="1106" cy="841"/>
                    </a:xfrm>
                    <a:custGeom>
                      <a:avLst/>
                      <a:gdLst>
                        <a:gd name="T0" fmla="*/ 0 w 1106"/>
                        <a:gd name="T1" fmla="*/ 511 h 841"/>
                        <a:gd name="T2" fmla="*/ 63 w 1106"/>
                        <a:gd name="T3" fmla="*/ 583 h 841"/>
                        <a:gd name="T4" fmla="*/ 132 w 1106"/>
                        <a:gd name="T5" fmla="*/ 646 h 841"/>
                        <a:gd name="T6" fmla="*/ 195 w 1106"/>
                        <a:gd name="T7" fmla="*/ 682 h 841"/>
                        <a:gd name="T8" fmla="*/ 286 w 1106"/>
                        <a:gd name="T9" fmla="*/ 721 h 841"/>
                        <a:gd name="T10" fmla="*/ 358 w 1106"/>
                        <a:gd name="T11" fmla="*/ 742 h 841"/>
                        <a:gd name="T12" fmla="*/ 424 w 1106"/>
                        <a:gd name="T13" fmla="*/ 751 h 841"/>
                        <a:gd name="T14" fmla="*/ 502 w 1106"/>
                        <a:gd name="T15" fmla="*/ 751 h 841"/>
                        <a:gd name="T16" fmla="*/ 559 w 1106"/>
                        <a:gd name="T17" fmla="*/ 745 h 841"/>
                        <a:gd name="T18" fmla="*/ 628 w 1106"/>
                        <a:gd name="T19" fmla="*/ 733 h 841"/>
                        <a:gd name="T20" fmla="*/ 697 w 1106"/>
                        <a:gd name="T21" fmla="*/ 712 h 841"/>
                        <a:gd name="T22" fmla="*/ 754 w 1106"/>
                        <a:gd name="T23" fmla="*/ 682 h 841"/>
                        <a:gd name="T24" fmla="*/ 808 w 1106"/>
                        <a:gd name="T25" fmla="*/ 649 h 841"/>
                        <a:gd name="T26" fmla="*/ 856 w 1106"/>
                        <a:gd name="T27" fmla="*/ 616 h 841"/>
                        <a:gd name="T28" fmla="*/ 904 w 1106"/>
                        <a:gd name="T29" fmla="*/ 568 h 841"/>
                        <a:gd name="T30" fmla="*/ 952 w 1106"/>
                        <a:gd name="T31" fmla="*/ 514 h 841"/>
                        <a:gd name="T32" fmla="*/ 989 w 1106"/>
                        <a:gd name="T33" fmla="*/ 463 h 841"/>
                        <a:gd name="T34" fmla="*/ 1010 w 1106"/>
                        <a:gd name="T35" fmla="*/ 412 h 841"/>
                        <a:gd name="T36" fmla="*/ 1037 w 1106"/>
                        <a:gd name="T37" fmla="*/ 331 h 841"/>
                        <a:gd name="T38" fmla="*/ 1055 w 1106"/>
                        <a:gd name="T39" fmla="*/ 247 h 841"/>
                        <a:gd name="T40" fmla="*/ 1058 w 1106"/>
                        <a:gd name="T41" fmla="*/ 172 h 841"/>
                        <a:gd name="T42" fmla="*/ 1046 w 1106"/>
                        <a:gd name="T43" fmla="*/ 90 h 841"/>
                        <a:gd name="T44" fmla="*/ 1019 w 1106"/>
                        <a:gd name="T45" fmla="*/ 0 h 841"/>
                        <a:gd name="T46" fmla="*/ 1046 w 1106"/>
                        <a:gd name="T47" fmla="*/ 48 h 841"/>
                        <a:gd name="T48" fmla="*/ 1076 w 1106"/>
                        <a:gd name="T49" fmla="*/ 117 h 841"/>
                        <a:gd name="T50" fmla="*/ 1091 w 1106"/>
                        <a:gd name="T51" fmla="*/ 181 h 841"/>
                        <a:gd name="T52" fmla="*/ 1106 w 1106"/>
                        <a:gd name="T53" fmla="*/ 241 h 841"/>
                        <a:gd name="T54" fmla="*/ 1103 w 1106"/>
                        <a:gd name="T55" fmla="*/ 292 h 841"/>
                        <a:gd name="T56" fmla="*/ 1100 w 1106"/>
                        <a:gd name="T57" fmla="*/ 361 h 841"/>
                        <a:gd name="T58" fmla="*/ 1064 w 1106"/>
                        <a:gd name="T59" fmla="*/ 493 h 841"/>
                        <a:gd name="T60" fmla="*/ 1028 w 1106"/>
                        <a:gd name="T61" fmla="*/ 565 h 841"/>
                        <a:gd name="T62" fmla="*/ 983 w 1106"/>
                        <a:gd name="T63" fmla="*/ 628 h 841"/>
                        <a:gd name="T64" fmla="*/ 934 w 1106"/>
                        <a:gd name="T65" fmla="*/ 682 h 841"/>
                        <a:gd name="T66" fmla="*/ 886 w 1106"/>
                        <a:gd name="T67" fmla="*/ 721 h 841"/>
                        <a:gd name="T68" fmla="*/ 820 w 1106"/>
                        <a:gd name="T69" fmla="*/ 766 h 841"/>
                        <a:gd name="T70" fmla="*/ 754 w 1106"/>
                        <a:gd name="T71" fmla="*/ 796 h 841"/>
                        <a:gd name="T72" fmla="*/ 691 w 1106"/>
                        <a:gd name="T73" fmla="*/ 817 h 841"/>
                        <a:gd name="T74" fmla="*/ 610 w 1106"/>
                        <a:gd name="T75" fmla="*/ 838 h 841"/>
                        <a:gd name="T76" fmla="*/ 550 w 1106"/>
                        <a:gd name="T77" fmla="*/ 841 h 841"/>
                        <a:gd name="T78" fmla="*/ 484 w 1106"/>
                        <a:gd name="T79" fmla="*/ 841 h 841"/>
                        <a:gd name="T80" fmla="*/ 418 w 1106"/>
                        <a:gd name="T81" fmla="*/ 829 h 841"/>
                        <a:gd name="T82" fmla="*/ 346 w 1106"/>
                        <a:gd name="T83" fmla="*/ 814 h 841"/>
                        <a:gd name="T84" fmla="*/ 298 w 1106"/>
                        <a:gd name="T85" fmla="*/ 796 h 841"/>
                        <a:gd name="T86" fmla="*/ 234 w 1106"/>
                        <a:gd name="T87" fmla="*/ 763 h 841"/>
                        <a:gd name="T88" fmla="*/ 180 w 1106"/>
                        <a:gd name="T89" fmla="*/ 733 h 841"/>
                        <a:gd name="T90" fmla="*/ 129 w 1106"/>
                        <a:gd name="T91" fmla="*/ 691 h 841"/>
                        <a:gd name="T92" fmla="*/ 75 w 1106"/>
                        <a:gd name="T93" fmla="*/ 634 h 841"/>
                        <a:gd name="T94" fmla="*/ 24 w 1106"/>
                        <a:gd name="T95" fmla="*/ 562 h 841"/>
                        <a:gd name="T96" fmla="*/ 0 w 1106"/>
                        <a:gd name="T97" fmla="*/ 511 h 84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</a:cxnLst>
                      <a:rect l="0" t="0" r="r" b="b"/>
                      <a:pathLst>
                        <a:path w="1106" h="841">
                          <a:moveTo>
                            <a:pt x="0" y="511"/>
                          </a:moveTo>
                          <a:lnTo>
                            <a:pt x="63" y="583"/>
                          </a:lnTo>
                          <a:lnTo>
                            <a:pt x="132" y="646"/>
                          </a:lnTo>
                          <a:lnTo>
                            <a:pt x="195" y="682"/>
                          </a:lnTo>
                          <a:lnTo>
                            <a:pt x="286" y="721"/>
                          </a:lnTo>
                          <a:lnTo>
                            <a:pt x="358" y="742"/>
                          </a:lnTo>
                          <a:lnTo>
                            <a:pt x="424" y="751"/>
                          </a:lnTo>
                          <a:lnTo>
                            <a:pt x="502" y="751"/>
                          </a:lnTo>
                          <a:lnTo>
                            <a:pt x="559" y="745"/>
                          </a:lnTo>
                          <a:lnTo>
                            <a:pt x="628" y="733"/>
                          </a:lnTo>
                          <a:lnTo>
                            <a:pt x="697" y="712"/>
                          </a:lnTo>
                          <a:lnTo>
                            <a:pt x="754" y="682"/>
                          </a:lnTo>
                          <a:lnTo>
                            <a:pt x="808" y="649"/>
                          </a:lnTo>
                          <a:lnTo>
                            <a:pt x="856" y="616"/>
                          </a:lnTo>
                          <a:lnTo>
                            <a:pt x="904" y="568"/>
                          </a:lnTo>
                          <a:lnTo>
                            <a:pt x="952" y="514"/>
                          </a:lnTo>
                          <a:lnTo>
                            <a:pt x="989" y="463"/>
                          </a:lnTo>
                          <a:lnTo>
                            <a:pt x="1010" y="412"/>
                          </a:lnTo>
                          <a:lnTo>
                            <a:pt x="1037" y="331"/>
                          </a:lnTo>
                          <a:lnTo>
                            <a:pt x="1055" y="247"/>
                          </a:lnTo>
                          <a:lnTo>
                            <a:pt x="1058" y="172"/>
                          </a:lnTo>
                          <a:lnTo>
                            <a:pt x="1046" y="90"/>
                          </a:lnTo>
                          <a:lnTo>
                            <a:pt x="1019" y="0"/>
                          </a:lnTo>
                          <a:lnTo>
                            <a:pt x="1046" y="48"/>
                          </a:lnTo>
                          <a:lnTo>
                            <a:pt x="1076" y="117"/>
                          </a:lnTo>
                          <a:lnTo>
                            <a:pt x="1091" y="181"/>
                          </a:lnTo>
                          <a:lnTo>
                            <a:pt x="1106" y="241"/>
                          </a:lnTo>
                          <a:lnTo>
                            <a:pt x="1103" y="292"/>
                          </a:lnTo>
                          <a:lnTo>
                            <a:pt x="1100" y="361"/>
                          </a:lnTo>
                          <a:lnTo>
                            <a:pt x="1064" y="493"/>
                          </a:lnTo>
                          <a:lnTo>
                            <a:pt x="1028" y="565"/>
                          </a:lnTo>
                          <a:lnTo>
                            <a:pt x="983" y="628"/>
                          </a:lnTo>
                          <a:lnTo>
                            <a:pt x="934" y="682"/>
                          </a:lnTo>
                          <a:lnTo>
                            <a:pt x="886" y="721"/>
                          </a:lnTo>
                          <a:lnTo>
                            <a:pt x="820" y="766"/>
                          </a:lnTo>
                          <a:lnTo>
                            <a:pt x="754" y="796"/>
                          </a:lnTo>
                          <a:lnTo>
                            <a:pt x="691" y="817"/>
                          </a:lnTo>
                          <a:lnTo>
                            <a:pt x="610" y="838"/>
                          </a:lnTo>
                          <a:lnTo>
                            <a:pt x="550" y="841"/>
                          </a:lnTo>
                          <a:lnTo>
                            <a:pt x="484" y="841"/>
                          </a:lnTo>
                          <a:lnTo>
                            <a:pt x="418" y="829"/>
                          </a:lnTo>
                          <a:lnTo>
                            <a:pt x="346" y="814"/>
                          </a:lnTo>
                          <a:lnTo>
                            <a:pt x="298" y="796"/>
                          </a:lnTo>
                          <a:lnTo>
                            <a:pt x="234" y="763"/>
                          </a:lnTo>
                          <a:lnTo>
                            <a:pt x="180" y="733"/>
                          </a:lnTo>
                          <a:lnTo>
                            <a:pt x="129" y="691"/>
                          </a:lnTo>
                          <a:lnTo>
                            <a:pt x="75" y="634"/>
                          </a:lnTo>
                          <a:lnTo>
                            <a:pt x="24" y="562"/>
                          </a:lnTo>
                          <a:lnTo>
                            <a:pt x="0" y="511"/>
                          </a:lnTo>
                          <a:close/>
                        </a:path>
                      </a:pathLst>
                    </a:custGeom>
                    <a:solidFill>
                      <a:srgbClr val="C0C0C0"/>
                    </a:solidFill>
                    <a:ln w="952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GB"/>
                    </a:p>
                  </p:txBody>
                </p:sp>
              </p:grpSp>
              <p:grpSp>
                <p:nvGrpSpPr>
                  <p:cNvPr id="141" name="Group 40"/>
                  <p:cNvGrpSpPr>
                    <a:grpSpLocks/>
                  </p:cNvGrpSpPr>
                  <p:nvPr/>
                </p:nvGrpSpPr>
                <p:grpSpPr bwMode="auto">
                  <a:xfrm>
                    <a:off x="441" y="1330"/>
                    <a:ext cx="1172" cy="1113"/>
                    <a:chOff x="441" y="1330"/>
                    <a:chExt cx="1172" cy="1113"/>
                  </a:xfrm>
                </p:grpSpPr>
                <p:sp>
                  <p:nvSpPr>
                    <p:cNvPr id="142" name="Freeform 41"/>
                    <p:cNvSpPr>
                      <a:spLocks/>
                    </p:cNvSpPr>
                    <p:nvPr/>
                  </p:nvSpPr>
                  <p:spPr bwMode="invGray">
                    <a:xfrm>
                      <a:off x="507" y="2165"/>
                      <a:ext cx="287" cy="278"/>
                    </a:xfrm>
                    <a:custGeom>
                      <a:avLst/>
                      <a:gdLst>
                        <a:gd name="T0" fmla="*/ 0 w 287"/>
                        <a:gd name="T1" fmla="*/ 0 h 278"/>
                        <a:gd name="T2" fmla="*/ 30 w 287"/>
                        <a:gd name="T3" fmla="*/ 56 h 278"/>
                        <a:gd name="T4" fmla="*/ 59 w 287"/>
                        <a:gd name="T5" fmla="*/ 99 h 278"/>
                        <a:gd name="T6" fmla="*/ 90 w 287"/>
                        <a:gd name="T7" fmla="*/ 138 h 278"/>
                        <a:gd name="T8" fmla="*/ 138 w 287"/>
                        <a:gd name="T9" fmla="*/ 185 h 278"/>
                        <a:gd name="T10" fmla="*/ 174 w 287"/>
                        <a:gd name="T11" fmla="*/ 215 h 278"/>
                        <a:gd name="T12" fmla="*/ 220 w 287"/>
                        <a:gd name="T13" fmla="*/ 244 h 278"/>
                        <a:gd name="T14" fmla="*/ 287 w 287"/>
                        <a:gd name="T15" fmla="*/ 278 h 278"/>
                        <a:gd name="T16" fmla="*/ 212 w 287"/>
                        <a:gd name="T17" fmla="*/ 176 h 278"/>
                        <a:gd name="T18" fmla="*/ 170 w 287"/>
                        <a:gd name="T19" fmla="*/ 152 h 278"/>
                        <a:gd name="T20" fmla="*/ 140 w 287"/>
                        <a:gd name="T21" fmla="*/ 131 h 278"/>
                        <a:gd name="T22" fmla="*/ 96 w 287"/>
                        <a:gd name="T23" fmla="*/ 101 h 278"/>
                        <a:gd name="T24" fmla="*/ 62 w 287"/>
                        <a:gd name="T25" fmla="*/ 69 h 278"/>
                        <a:gd name="T26" fmla="*/ 35 w 287"/>
                        <a:gd name="T27" fmla="*/ 42 h 278"/>
                        <a:gd name="T28" fmla="*/ 0 w 287"/>
                        <a:gd name="T29" fmla="*/ 0 h 27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287" h="278">
                          <a:moveTo>
                            <a:pt x="0" y="0"/>
                          </a:moveTo>
                          <a:lnTo>
                            <a:pt x="30" y="56"/>
                          </a:lnTo>
                          <a:lnTo>
                            <a:pt x="59" y="99"/>
                          </a:lnTo>
                          <a:lnTo>
                            <a:pt x="90" y="138"/>
                          </a:lnTo>
                          <a:lnTo>
                            <a:pt x="138" y="185"/>
                          </a:lnTo>
                          <a:lnTo>
                            <a:pt x="174" y="215"/>
                          </a:lnTo>
                          <a:lnTo>
                            <a:pt x="220" y="244"/>
                          </a:lnTo>
                          <a:lnTo>
                            <a:pt x="287" y="278"/>
                          </a:lnTo>
                          <a:lnTo>
                            <a:pt x="212" y="176"/>
                          </a:lnTo>
                          <a:lnTo>
                            <a:pt x="170" y="152"/>
                          </a:lnTo>
                          <a:lnTo>
                            <a:pt x="140" y="131"/>
                          </a:lnTo>
                          <a:lnTo>
                            <a:pt x="96" y="101"/>
                          </a:lnTo>
                          <a:lnTo>
                            <a:pt x="62" y="69"/>
                          </a:lnTo>
                          <a:lnTo>
                            <a:pt x="35" y="4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952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GB"/>
                    </a:p>
                  </p:txBody>
                </p:sp>
                <p:sp>
                  <p:nvSpPr>
                    <p:cNvPr id="143" name="Freeform 42"/>
                    <p:cNvSpPr>
                      <a:spLocks/>
                    </p:cNvSpPr>
                    <p:nvPr/>
                  </p:nvSpPr>
                  <p:spPr bwMode="invGray">
                    <a:xfrm>
                      <a:off x="1510" y="1647"/>
                      <a:ext cx="103" cy="546"/>
                    </a:xfrm>
                    <a:custGeom>
                      <a:avLst/>
                      <a:gdLst>
                        <a:gd name="T0" fmla="*/ 19 w 103"/>
                        <a:gd name="T1" fmla="*/ 0 h 546"/>
                        <a:gd name="T2" fmla="*/ 39 w 103"/>
                        <a:gd name="T3" fmla="*/ 37 h 546"/>
                        <a:gd name="T4" fmla="*/ 52 w 103"/>
                        <a:gd name="T5" fmla="*/ 69 h 546"/>
                        <a:gd name="T6" fmla="*/ 66 w 103"/>
                        <a:gd name="T7" fmla="*/ 102 h 546"/>
                        <a:gd name="T8" fmla="*/ 76 w 103"/>
                        <a:gd name="T9" fmla="*/ 134 h 546"/>
                        <a:gd name="T10" fmla="*/ 84 w 103"/>
                        <a:gd name="T11" fmla="*/ 164 h 546"/>
                        <a:gd name="T12" fmla="*/ 99 w 103"/>
                        <a:gd name="T13" fmla="*/ 217 h 546"/>
                        <a:gd name="T14" fmla="*/ 103 w 103"/>
                        <a:gd name="T15" fmla="*/ 269 h 546"/>
                        <a:gd name="T16" fmla="*/ 100 w 103"/>
                        <a:gd name="T17" fmla="*/ 349 h 546"/>
                        <a:gd name="T18" fmla="*/ 93 w 103"/>
                        <a:gd name="T19" fmla="*/ 403 h 546"/>
                        <a:gd name="T20" fmla="*/ 82 w 103"/>
                        <a:gd name="T21" fmla="*/ 447 h 546"/>
                        <a:gd name="T22" fmla="*/ 65 w 103"/>
                        <a:gd name="T23" fmla="*/ 493 h 546"/>
                        <a:gd name="T24" fmla="*/ 42 w 103"/>
                        <a:gd name="T25" fmla="*/ 546 h 546"/>
                        <a:gd name="T26" fmla="*/ 0 w 103"/>
                        <a:gd name="T27" fmla="*/ 443 h 546"/>
                        <a:gd name="T28" fmla="*/ 19 w 103"/>
                        <a:gd name="T29" fmla="*/ 398 h 546"/>
                        <a:gd name="T30" fmla="*/ 28 w 103"/>
                        <a:gd name="T31" fmla="*/ 374 h 546"/>
                        <a:gd name="T32" fmla="*/ 39 w 103"/>
                        <a:gd name="T33" fmla="*/ 343 h 546"/>
                        <a:gd name="T34" fmla="*/ 46 w 103"/>
                        <a:gd name="T35" fmla="*/ 311 h 546"/>
                        <a:gd name="T36" fmla="*/ 52 w 103"/>
                        <a:gd name="T37" fmla="*/ 262 h 546"/>
                        <a:gd name="T38" fmla="*/ 55 w 103"/>
                        <a:gd name="T39" fmla="*/ 221 h 546"/>
                        <a:gd name="T40" fmla="*/ 55 w 103"/>
                        <a:gd name="T41" fmla="*/ 160 h 546"/>
                        <a:gd name="T42" fmla="*/ 46 w 103"/>
                        <a:gd name="T43" fmla="*/ 105 h 546"/>
                        <a:gd name="T44" fmla="*/ 36 w 103"/>
                        <a:gd name="T45" fmla="*/ 60 h 546"/>
                        <a:gd name="T46" fmla="*/ 30 w 103"/>
                        <a:gd name="T47" fmla="*/ 36 h 546"/>
                        <a:gd name="T48" fmla="*/ 19 w 103"/>
                        <a:gd name="T49" fmla="*/ 0 h 54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</a:cxnLst>
                      <a:rect l="0" t="0" r="r" b="b"/>
                      <a:pathLst>
                        <a:path w="103" h="546">
                          <a:moveTo>
                            <a:pt x="19" y="0"/>
                          </a:moveTo>
                          <a:lnTo>
                            <a:pt x="39" y="37"/>
                          </a:lnTo>
                          <a:lnTo>
                            <a:pt x="52" y="69"/>
                          </a:lnTo>
                          <a:lnTo>
                            <a:pt x="66" y="102"/>
                          </a:lnTo>
                          <a:lnTo>
                            <a:pt x="76" y="134"/>
                          </a:lnTo>
                          <a:lnTo>
                            <a:pt x="84" y="164"/>
                          </a:lnTo>
                          <a:lnTo>
                            <a:pt x="99" y="217"/>
                          </a:lnTo>
                          <a:lnTo>
                            <a:pt x="103" y="269"/>
                          </a:lnTo>
                          <a:lnTo>
                            <a:pt x="100" y="349"/>
                          </a:lnTo>
                          <a:lnTo>
                            <a:pt x="93" y="403"/>
                          </a:lnTo>
                          <a:lnTo>
                            <a:pt x="82" y="447"/>
                          </a:lnTo>
                          <a:lnTo>
                            <a:pt x="65" y="493"/>
                          </a:lnTo>
                          <a:lnTo>
                            <a:pt x="42" y="546"/>
                          </a:lnTo>
                          <a:lnTo>
                            <a:pt x="0" y="443"/>
                          </a:lnTo>
                          <a:lnTo>
                            <a:pt x="19" y="398"/>
                          </a:lnTo>
                          <a:lnTo>
                            <a:pt x="28" y="374"/>
                          </a:lnTo>
                          <a:lnTo>
                            <a:pt x="39" y="343"/>
                          </a:lnTo>
                          <a:lnTo>
                            <a:pt x="46" y="311"/>
                          </a:lnTo>
                          <a:lnTo>
                            <a:pt x="52" y="262"/>
                          </a:lnTo>
                          <a:lnTo>
                            <a:pt x="55" y="221"/>
                          </a:lnTo>
                          <a:lnTo>
                            <a:pt x="55" y="160"/>
                          </a:lnTo>
                          <a:lnTo>
                            <a:pt x="46" y="105"/>
                          </a:lnTo>
                          <a:lnTo>
                            <a:pt x="36" y="60"/>
                          </a:lnTo>
                          <a:lnTo>
                            <a:pt x="30" y="36"/>
                          </a:lnTo>
                          <a:lnTo>
                            <a:pt x="19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952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GB"/>
                    </a:p>
                  </p:txBody>
                </p:sp>
                <p:sp>
                  <p:nvSpPr>
                    <p:cNvPr id="144" name="Freeform 43"/>
                    <p:cNvSpPr>
                      <a:spLocks/>
                    </p:cNvSpPr>
                    <p:nvPr/>
                  </p:nvSpPr>
                  <p:spPr bwMode="invGray">
                    <a:xfrm>
                      <a:off x="972" y="1330"/>
                      <a:ext cx="408" cy="165"/>
                    </a:xfrm>
                    <a:custGeom>
                      <a:avLst/>
                      <a:gdLst>
                        <a:gd name="T0" fmla="*/ 0 w 408"/>
                        <a:gd name="T1" fmla="*/ 0 h 165"/>
                        <a:gd name="T2" fmla="*/ 31 w 408"/>
                        <a:gd name="T3" fmla="*/ 60 h 165"/>
                        <a:gd name="T4" fmla="*/ 79 w 408"/>
                        <a:gd name="T5" fmla="*/ 57 h 165"/>
                        <a:gd name="T6" fmla="*/ 123 w 408"/>
                        <a:gd name="T7" fmla="*/ 60 h 165"/>
                        <a:gd name="T8" fmla="*/ 164 w 408"/>
                        <a:gd name="T9" fmla="*/ 66 h 165"/>
                        <a:gd name="T10" fmla="*/ 202 w 408"/>
                        <a:gd name="T11" fmla="*/ 73 h 165"/>
                        <a:gd name="T12" fmla="*/ 240 w 408"/>
                        <a:gd name="T13" fmla="*/ 83 h 165"/>
                        <a:gd name="T14" fmla="*/ 266 w 408"/>
                        <a:gd name="T15" fmla="*/ 91 h 165"/>
                        <a:gd name="T16" fmla="*/ 300 w 408"/>
                        <a:gd name="T17" fmla="*/ 105 h 165"/>
                        <a:gd name="T18" fmla="*/ 339 w 408"/>
                        <a:gd name="T19" fmla="*/ 124 h 165"/>
                        <a:gd name="T20" fmla="*/ 408 w 408"/>
                        <a:gd name="T21" fmla="*/ 165 h 165"/>
                        <a:gd name="T22" fmla="*/ 368 w 408"/>
                        <a:gd name="T23" fmla="*/ 123 h 165"/>
                        <a:gd name="T24" fmla="*/ 340 w 408"/>
                        <a:gd name="T25" fmla="*/ 102 h 165"/>
                        <a:gd name="T26" fmla="*/ 303 w 408"/>
                        <a:gd name="T27" fmla="*/ 78 h 165"/>
                        <a:gd name="T28" fmla="*/ 280 w 408"/>
                        <a:gd name="T29" fmla="*/ 64 h 165"/>
                        <a:gd name="T30" fmla="*/ 229 w 408"/>
                        <a:gd name="T31" fmla="*/ 40 h 165"/>
                        <a:gd name="T32" fmla="*/ 196 w 408"/>
                        <a:gd name="T33" fmla="*/ 28 h 165"/>
                        <a:gd name="T34" fmla="*/ 169 w 408"/>
                        <a:gd name="T35" fmla="*/ 19 h 165"/>
                        <a:gd name="T36" fmla="*/ 144 w 408"/>
                        <a:gd name="T37" fmla="*/ 13 h 165"/>
                        <a:gd name="T38" fmla="*/ 105 w 408"/>
                        <a:gd name="T39" fmla="*/ 6 h 165"/>
                        <a:gd name="T40" fmla="*/ 64 w 408"/>
                        <a:gd name="T41" fmla="*/ 1 h 165"/>
                        <a:gd name="T42" fmla="*/ 18 w 408"/>
                        <a:gd name="T43" fmla="*/ 0 h 165"/>
                        <a:gd name="T44" fmla="*/ 0 w 408"/>
                        <a:gd name="T45" fmla="*/ 0 h 16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</a:cxnLst>
                      <a:rect l="0" t="0" r="r" b="b"/>
                      <a:pathLst>
                        <a:path w="408" h="165">
                          <a:moveTo>
                            <a:pt x="0" y="0"/>
                          </a:moveTo>
                          <a:lnTo>
                            <a:pt x="31" y="60"/>
                          </a:lnTo>
                          <a:lnTo>
                            <a:pt x="79" y="57"/>
                          </a:lnTo>
                          <a:lnTo>
                            <a:pt x="123" y="60"/>
                          </a:lnTo>
                          <a:lnTo>
                            <a:pt x="164" y="66"/>
                          </a:lnTo>
                          <a:lnTo>
                            <a:pt x="202" y="73"/>
                          </a:lnTo>
                          <a:lnTo>
                            <a:pt x="240" y="83"/>
                          </a:lnTo>
                          <a:lnTo>
                            <a:pt x="266" y="91"/>
                          </a:lnTo>
                          <a:lnTo>
                            <a:pt x="300" y="105"/>
                          </a:lnTo>
                          <a:lnTo>
                            <a:pt x="339" y="124"/>
                          </a:lnTo>
                          <a:lnTo>
                            <a:pt x="408" y="165"/>
                          </a:lnTo>
                          <a:lnTo>
                            <a:pt x="368" y="123"/>
                          </a:lnTo>
                          <a:lnTo>
                            <a:pt x="340" y="102"/>
                          </a:lnTo>
                          <a:lnTo>
                            <a:pt x="303" y="78"/>
                          </a:lnTo>
                          <a:lnTo>
                            <a:pt x="280" y="64"/>
                          </a:lnTo>
                          <a:lnTo>
                            <a:pt x="229" y="40"/>
                          </a:lnTo>
                          <a:lnTo>
                            <a:pt x="196" y="28"/>
                          </a:lnTo>
                          <a:lnTo>
                            <a:pt x="169" y="19"/>
                          </a:lnTo>
                          <a:lnTo>
                            <a:pt x="144" y="13"/>
                          </a:lnTo>
                          <a:lnTo>
                            <a:pt x="105" y="6"/>
                          </a:lnTo>
                          <a:lnTo>
                            <a:pt x="64" y="1"/>
                          </a:lnTo>
                          <a:lnTo>
                            <a:pt x="18" y="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952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GB"/>
                    </a:p>
                  </p:txBody>
                </p:sp>
                <p:sp>
                  <p:nvSpPr>
                    <p:cNvPr id="145" name="Freeform 44"/>
                    <p:cNvSpPr>
                      <a:spLocks/>
                    </p:cNvSpPr>
                    <p:nvPr/>
                  </p:nvSpPr>
                  <p:spPr bwMode="invGray">
                    <a:xfrm>
                      <a:off x="441" y="1562"/>
                      <a:ext cx="130" cy="387"/>
                    </a:xfrm>
                    <a:custGeom>
                      <a:avLst/>
                      <a:gdLst>
                        <a:gd name="T0" fmla="*/ 0 w 130"/>
                        <a:gd name="T1" fmla="*/ 297 h 387"/>
                        <a:gd name="T2" fmla="*/ 3 w 130"/>
                        <a:gd name="T3" fmla="*/ 267 h 387"/>
                        <a:gd name="T4" fmla="*/ 5 w 130"/>
                        <a:gd name="T5" fmla="*/ 234 h 387"/>
                        <a:gd name="T6" fmla="*/ 14 w 130"/>
                        <a:gd name="T7" fmla="*/ 181 h 387"/>
                        <a:gd name="T8" fmla="*/ 24 w 130"/>
                        <a:gd name="T9" fmla="*/ 139 h 387"/>
                        <a:gd name="T10" fmla="*/ 38 w 130"/>
                        <a:gd name="T11" fmla="*/ 101 h 387"/>
                        <a:gd name="T12" fmla="*/ 56 w 130"/>
                        <a:gd name="T13" fmla="*/ 62 h 387"/>
                        <a:gd name="T14" fmla="*/ 72 w 130"/>
                        <a:gd name="T15" fmla="*/ 32 h 387"/>
                        <a:gd name="T16" fmla="*/ 92 w 130"/>
                        <a:gd name="T17" fmla="*/ 0 h 387"/>
                        <a:gd name="T18" fmla="*/ 130 w 130"/>
                        <a:gd name="T19" fmla="*/ 50 h 387"/>
                        <a:gd name="T20" fmla="*/ 108 w 130"/>
                        <a:gd name="T21" fmla="*/ 80 h 387"/>
                        <a:gd name="T22" fmla="*/ 92 w 130"/>
                        <a:gd name="T23" fmla="*/ 107 h 387"/>
                        <a:gd name="T24" fmla="*/ 79 w 130"/>
                        <a:gd name="T25" fmla="*/ 132 h 387"/>
                        <a:gd name="T26" fmla="*/ 60 w 130"/>
                        <a:gd name="T27" fmla="*/ 167 h 387"/>
                        <a:gd name="T28" fmla="*/ 48 w 130"/>
                        <a:gd name="T29" fmla="*/ 198 h 387"/>
                        <a:gd name="T30" fmla="*/ 41 w 130"/>
                        <a:gd name="T31" fmla="*/ 228 h 387"/>
                        <a:gd name="T32" fmla="*/ 32 w 130"/>
                        <a:gd name="T33" fmla="*/ 258 h 387"/>
                        <a:gd name="T34" fmla="*/ 26 w 130"/>
                        <a:gd name="T35" fmla="*/ 291 h 387"/>
                        <a:gd name="T36" fmla="*/ 21 w 130"/>
                        <a:gd name="T37" fmla="*/ 331 h 387"/>
                        <a:gd name="T38" fmla="*/ 17 w 130"/>
                        <a:gd name="T39" fmla="*/ 371 h 387"/>
                        <a:gd name="T40" fmla="*/ 10 w 130"/>
                        <a:gd name="T41" fmla="*/ 387 h 387"/>
                        <a:gd name="T42" fmla="*/ 0 w 130"/>
                        <a:gd name="T43" fmla="*/ 297 h 38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</a:cxnLst>
                      <a:rect l="0" t="0" r="r" b="b"/>
                      <a:pathLst>
                        <a:path w="130" h="387">
                          <a:moveTo>
                            <a:pt x="0" y="297"/>
                          </a:moveTo>
                          <a:lnTo>
                            <a:pt x="3" y="267"/>
                          </a:lnTo>
                          <a:lnTo>
                            <a:pt x="5" y="234"/>
                          </a:lnTo>
                          <a:lnTo>
                            <a:pt x="14" y="181"/>
                          </a:lnTo>
                          <a:lnTo>
                            <a:pt x="24" y="139"/>
                          </a:lnTo>
                          <a:lnTo>
                            <a:pt x="38" y="101"/>
                          </a:lnTo>
                          <a:lnTo>
                            <a:pt x="56" y="62"/>
                          </a:lnTo>
                          <a:lnTo>
                            <a:pt x="72" y="32"/>
                          </a:lnTo>
                          <a:lnTo>
                            <a:pt x="92" y="0"/>
                          </a:lnTo>
                          <a:lnTo>
                            <a:pt x="130" y="50"/>
                          </a:lnTo>
                          <a:lnTo>
                            <a:pt x="108" y="80"/>
                          </a:lnTo>
                          <a:lnTo>
                            <a:pt x="92" y="107"/>
                          </a:lnTo>
                          <a:lnTo>
                            <a:pt x="79" y="132"/>
                          </a:lnTo>
                          <a:lnTo>
                            <a:pt x="60" y="167"/>
                          </a:lnTo>
                          <a:lnTo>
                            <a:pt x="48" y="198"/>
                          </a:lnTo>
                          <a:lnTo>
                            <a:pt x="41" y="228"/>
                          </a:lnTo>
                          <a:lnTo>
                            <a:pt x="32" y="258"/>
                          </a:lnTo>
                          <a:lnTo>
                            <a:pt x="26" y="291"/>
                          </a:lnTo>
                          <a:lnTo>
                            <a:pt x="21" y="331"/>
                          </a:lnTo>
                          <a:lnTo>
                            <a:pt x="17" y="371"/>
                          </a:lnTo>
                          <a:lnTo>
                            <a:pt x="10" y="387"/>
                          </a:lnTo>
                          <a:lnTo>
                            <a:pt x="0" y="297"/>
                          </a:ln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952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GB"/>
                    </a:p>
                  </p:txBody>
                </p:sp>
              </p:grpSp>
            </p:grpSp>
            <p:sp>
              <p:nvSpPr>
                <p:cNvPr id="135" name="Oval 45"/>
                <p:cNvSpPr>
                  <a:spLocks noChangeArrowheads="1"/>
                </p:cNvSpPr>
                <p:nvPr/>
              </p:nvSpPr>
              <p:spPr bwMode="invGray">
                <a:xfrm>
                  <a:off x="460" y="1390"/>
                  <a:ext cx="1154" cy="1105"/>
                </a:xfrm>
                <a:prstGeom prst="ellipse">
                  <a:avLst/>
                </a:prstGeom>
                <a:noFill/>
                <a:ln w="25400">
                  <a:solidFill>
                    <a:schemeClr val="bg2">
                      <a:lumMod val="10000"/>
                    </a:schemeClr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grpSp>
              <p:nvGrpSpPr>
                <p:cNvPr id="136" name="Group 46"/>
                <p:cNvGrpSpPr>
                  <a:grpSpLocks/>
                </p:cNvGrpSpPr>
                <p:nvPr/>
              </p:nvGrpSpPr>
              <p:grpSpPr bwMode="auto">
                <a:xfrm>
                  <a:off x="412" y="1300"/>
                  <a:ext cx="1154" cy="1105"/>
                  <a:chOff x="412" y="1300"/>
                  <a:chExt cx="1154" cy="1105"/>
                </a:xfrm>
              </p:grpSpPr>
              <p:sp>
                <p:nvSpPr>
                  <p:cNvPr id="137" name="Oval 47"/>
                  <p:cNvSpPr>
                    <a:spLocks noChangeArrowheads="1"/>
                  </p:cNvSpPr>
                  <p:nvPr/>
                </p:nvSpPr>
                <p:spPr bwMode="invGray">
                  <a:xfrm>
                    <a:off x="425" y="1315"/>
                    <a:ext cx="1127" cy="1078"/>
                  </a:xfrm>
                  <a:prstGeom prst="ellipse">
                    <a:avLst/>
                  </a:prstGeom>
                  <a:noFill/>
                  <a:ln w="63500">
                    <a:solidFill>
                      <a:schemeClr val="bg2">
                        <a:lumMod val="10000"/>
                      </a:schemeClr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/>
                  <a:lstStyle/>
                  <a:p>
                    <a:endParaRPr lang="en-GB"/>
                  </a:p>
                </p:txBody>
              </p:sp>
              <p:sp>
                <p:nvSpPr>
                  <p:cNvPr id="138" name="Oval 48"/>
                  <p:cNvSpPr>
                    <a:spLocks noChangeArrowheads="1"/>
                  </p:cNvSpPr>
                  <p:nvPr/>
                </p:nvSpPr>
                <p:spPr bwMode="invGray">
                  <a:xfrm>
                    <a:off x="412" y="1300"/>
                    <a:ext cx="1154" cy="1105"/>
                  </a:xfrm>
                  <a:prstGeom prst="ellipse">
                    <a:avLst/>
                  </a:prstGeom>
                  <a:noFill/>
                  <a:ln w="25400">
                    <a:solidFill>
                      <a:schemeClr val="bg2">
                        <a:lumMod val="10000"/>
                      </a:schemeClr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/>
                  <a:lstStyle/>
                  <a:p>
                    <a:endParaRPr lang="en-GB"/>
                  </a:p>
                </p:txBody>
              </p:sp>
              <p:sp>
                <p:nvSpPr>
                  <p:cNvPr id="139" name="Oval 49"/>
                  <p:cNvSpPr>
                    <a:spLocks noChangeArrowheads="1"/>
                  </p:cNvSpPr>
                  <p:nvPr/>
                </p:nvSpPr>
                <p:spPr bwMode="invGray">
                  <a:xfrm>
                    <a:off x="444" y="1330"/>
                    <a:ext cx="1090" cy="1046"/>
                  </a:xfrm>
                  <a:prstGeom prst="ellipse">
                    <a:avLst/>
                  </a:prstGeom>
                  <a:noFill/>
                  <a:ln w="12700">
                    <a:solidFill>
                      <a:schemeClr val="bg2">
                        <a:lumMod val="10000"/>
                      </a:schemeClr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/>
                  <a:lstStyle/>
                  <a:p>
                    <a:endParaRPr lang="en-GB"/>
                  </a:p>
                </p:txBody>
              </p:sp>
            </p:grpSp>
          </p:grpSp>
          <p:grpSp>
            <p:nvGrpSpPr>
              <p:cNvPr id="92" name="Group 50"/>
              <p:cNvGrpSpPr>
                <a:grpSpLocks/>
              </p:cNvGrpSpPr>
              <p:nvPr/>
            </p:nvGrpSpPr>
            <p:grpSpPr bwMode="auto">
              <a:xfrm rot="21485473" flipH="1">
                <a:off x="3405188" y="2717800"/>
                <a:ext cx="1216025" cy="1497013"/>
                <a:chOff x="1239" y="2342"/>
                <a:chExt cx="592" cy="924"/>
              </a:xfrm>
            </p:grpSpPr>
            <p:sp>
              <p:nvSpPr>
                <p:cNvPr id="93" name="Freeform 51"/>
                <p:cNvSpPr>
                  <a:spLocks/>
                </p:cNvSpPr>
                <p:nvPr/>
              </p:nvSpPr>
              <p:spPr bwMode="invGray">
                <a:xfrm>
                  <a:off x="1244" y="2389"/>
                  <a:ext cx="564" cy="808"/>
                </a:xfrm>
                <a:custGeom>
                  <a:avLst/>
                  <a:gdLst>
                    <a:gd name="T0" fmla="*/ 0 w 564"/>
                    <a:gd name="T1" fmla="*/ 60 h 808"/>
                    <a:gd name="T2" fmla="*/ 400 w 564"/>
                    <a:gd name="T3" fmla="*/ 808 h 808"/>
                    <a:gd name="T4" fmla="*/ 564 w 564"/>
                    <a:gd name="T5" fmla="*/ 725 h 808"/>
                    <a:gd name="T6" fmla="*/ 162 w 564"/>
                    <a:gd name="T7" fmla="*/ 0 h 808"/>
                    <a:gd name="T8" fmla="*/ 0 w 564"/>
                    <a:gd name="T9" fmla="*/ 60 h 8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64" h="808">
                      <a:moveTo>
                        <a:pt x="0" y="60"/>
                      </a:moveTo>
                      <a:lnTo>
                        <a:pt x="400" y="808"/>
                      </a:lnTo>
                      <a:lnTo>
                        <a:pt x="564" y="725"/>
                      </a:lnTo>
                      <a:lnTo>
                        <a:pt x="162" y="0"/>
                      </a:lnTo>
                      <a:lnTo>
                        <a:pt x="0" y="60"/>
                      </a:lnTo>
                      <a:close/>
                    </a:path>
                  </a:pathLst>
                </a:custGeom>
                <a:solidFill>
                  <a:srgbClr val="5F3F1F"/>
                </a:solidFill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94" name="Arc 52"/>
                <p:cNvSpPr>
                  <a:spLocks/>
                </p:cNvSpPr>
                <p:nvPr/>
              </p:nvSpPr>
              <p:spPr bwMode="invGray">
                <a:xfrm>
                  <a:off x="1241" y="2342"/>
                  <a:ext cx="170" cy="105"/>
                </a:xfrm>
                <a:custGeom>
                  <a:avLst/>
                  <a:gdLst>
                    <a:gd name="G0" fmla="+- 21600 0 0"/>
                    <a:gd name="G1" fmla="+- 21600 0 0"/>
                    <a:gd name="G2" fmla="+- 21600 0 0"/>
                    <a:gd name="T0" fmla="*/ 877 w 42152"/>
                    <a:gd name="T1" fmla="*/ 27693 h 27693"/>
                    <a:gd name="T2" fmla="*/ 42152 w 42152"/>
                    <a:gd name="T3" fmla="*/ 14952 h 27693"/>
                    <a:gd name="T4" fmla="*/ 21600 w 42152"/>
                    <a:gd name="T5" fmla="*/ 21600 h 2769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2152" h="27693" fill="none" extrusionOk="0">
                      <a:moveTo>
                        <a:pt x="877" y="27692"/>
                      </a:moveTo>
                      <a:cubicBezTo>
                        <a:pt x="295" y="25714"/>
                        <a:pt x="0" y="23662"/>
                        <a:pt x="0" y="21600"/>
                      </a:cubicBezTo>
                      <a:cubicBezTo>
                        <a:pt x="0" y="9670"/>
                        <a:pt x="9670" y="0"/>
                        <a:pt x="21600" y="0"/>
                      </a:cubicBezTo>
                      <a:cubicBezTo>
                        <a:pt x="30968" y="-1"/>
                        <a:pt x="39268" y="6038"/>
                        <a:pt x="42151" y="14952"/>
                      </a:cubicBezTo>
                    </a:path>
                    <a:path w="42152" h="27693" stroke="0" extrusionOk="0">
                      <a:moveTo>
                        <a:pt x="877" y="27692"/>
                      </a:moveTo>
                      <a:cubicBezTo>
                        <a:pt x="295" y="25714"/>
                        <a:pt x="0" y="23662"/>
                        <a:pt x="0" y="21600"/>
                      </a:cubicBezTo>
                      <a:cubicBezTo>
                        <a:pt x="0" y="9670"/>
                        <a:pt x="9670" y="0"/>
                        <a:pt x="21600" y="0"/>
                      </a:cubicBezTo>
                      <a:cubicBezTo>
                        <a:pt x="30968" y="-1"/>
                        <a:pt x="39268" y="6038"/>
                        <a:pt x="42151" y="14952"/>
                      </a:cubicBezTo>
                      <a:lnTo>
                        <a:pt x="21600" y="21600"/>
                      </a:lnTo>
                      <a:close/>
                    </a:path>
                  </a:pathLst>
                </a:custGeom>
                <a:solidFill>
                  <a:srgbClr val="5F3F1F"/>
                </a:solidFill>
                <a:ln w="12700">
                  <a:solidFill>
                    <a:schemeClr val="bg2">
                      <a:lumMod val="10000"/>
                    </a:scheme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95" name="Arc 53"/>
                <p:cNvSpPr>
                  <a:spLocks/>
                </p:cNvSpPr>
                <p:nvPr/>
              </p:nvSpPr>
              <p:spPr bwMode="invGray">
                <a:xfrm>
                  <a:off x="1245" y="2353"/>
                  <a:ext cx="172" cy="100"/>
                </a:xfrm>
                <a:custGeom>
                  <a:avLst/>
                  <a:gdLst>
                    <a:gd name="G0" fmla="+- 21600 0 0"/>
                    <a:gd name="G1" fmla="+- 21600 0 0"/>
                    <a:gd name="G2" fmla="+- 21600 0 0"/>
                    <a:gd name="T0" fmla="*/ 138 w 42065"/>
                    <a:gd name="T1" fmla="*/ 24039 h 24039"/>
                    <a:gd name="T2" fmla="*/ 42065 w 42065"/>
                    <a:gd name="T3" fmla="*/ 14690 h 24039"/>
                    <a:gd name="T4" fmla="*/ 21600 w 42065"/>
                    <a:gd name="T5" fmla="*/ 21600 h 240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2065" h="24039" fill="none" extrusionOk="0">
                      <a:moveTo>
                        <a:pt x="138" y="24038"/>
                      </a:moveTo>
                      <a:cubicBezTo>
                        <a:pt x="46" y="23229"/>
                        <a:pt x="0" y="22414"/>
                        <a:pt x="0" y="21600"/>
                      </a:cubicBezTo>
                      <a:cubicBezTo>
                        <a:pt x="0" y="9670"/>
                        <a:pt x="9670" y="0"/>
                        <a:pt x="21600" y="0"/>
                      </a:cubicBezTo>
                      <a:cubicBezTo>
                        <a:pt x="30866" y="-1"/>
                        <a:pt x="39100" y="5910"/>
                        <a:pt x="42064" y="14690"/>
                      </a:cubicBezTo>
                    </a:path>
                    <a:path w="42065" h="24039" stroke="0" extrusionOk="0">
                      <a:moveTo>
                        <a:pt x="138" y="24038"/>
                      </a:moveTo>
                      <a:cubicBezTo>
                        <a:pt x="46" y="23229"/>
                        <a:pt x="0" y="22414"/>
                        <a:pt x="0" y="21600"/>
                      </a:cubicBezTo>
                      <a:cubicBezTo>
                        <a:pt x="0" y="9670"/>
                        <a:pt x="9670" y="0"/>
                        <a:pt x="21600" y="0"/>
                      </a:cubicBezTo>
                      <a:cubicBezTo>
                        <a:pt x="30866" y="-1"/>
                        <a:pt x="39100" y="5910"/>
                        <a:pt x="42064" y="14690"/>
                      </a:cubicBezTo>
                      <a:lnTo>
                        <a:pt x="21600" y="21600"/>
                      </a:lnTo>
                      <a:close/>
                    </a:path>
                  </a:pathLst>
                </a:custGeom>
                <a:solidFill>
                  <a:srgbClr val="5F3F1F"/>
                </a:solidFill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96" name="Freeform 54"/>
                <p:cNvSpPr>
                  <a:spLocks/>
                </p:cNvSpPr>
                <p:nvPr/>
              </p:nvSpPr>
              <p:spPr bwMode="invGray">
                <a:xfrm>
                  <a:off x="1239" y="2354"/>
                  <a:ext cx="107" cy="207"/>
                </a:xfrm>
                <a:custGeom>
                  <a:avLst/>
                  <a:gdLst>
                    <a:gd name="T0" fmla="*/ 3 w 107"/>
                    <a:gd name="T1" fmla="*/ 96 h 207"/>
                    <a:gd name="T2" fmla="*/ 0 w 107"/>
                    <a:gd name="T3" fmla="*/ 82 h 207"/>
                    <a:gd name="T4" fmla="*/ 0 w 107"/>
                    <a:gd name="T5" fmla="*/ 69 h 207"/>
                    <a:gd name="T6" fmla="*/ 2 w 107"/>
                    <a:gd name="T7" fmla="*/ 58 h 207"/>
                    <a:gd name="T8" fmla="*/ 6 w 107"/>
                    <a:gd name="T9" fmla="*/ 42 h 207"/>
                    <a:gd name="T10" fmla="*/ 12 w 107"/>
                    <a:gd name="T11" fmla="*/ 29 h 207"/>
                    <a:gd name="T12" fmla="*/ 21 w 107"/>
                    <a:gd name="T13" fmla="*/ 17 h 207"/>
                    <a:gd name="T14" fmla="*/ 31 w 107"/>
                    <a:gd name="T15" fmla="*/ 7 h 207"/>
                    <a:gd name="T16" fmla="*/ 41 w 107"/>
                    <a:gd name="T17" fmla="*/ 0 h 207"/>
                    <a:gd name="T18" fmla="*/ 107 w 107"/>
                    <a:gd name="T19" fmla="*/ 112 h 207"/>
                    <a:gd name="T20" fmla="*/ 95 w 107"/>
                    <a:gd name="T21" fmla="*/ 119 h 207"/>
                    <a:gd name="T22" fmla="*/ 87 w 107"/>
                    <a:gd name="T23" fmla="*/ 127 h 207"/>
                    <a:gd name="T24" fmla="*/ 79 w 107"/>
                    <a:gd name="T25" fmla="*/ 135 h 207"/>
                    <a:gd name="T26" fmla="*/ 73 w 107"/>
                    <a:gd name="T27" fmla="*/ 145 h 207"/>
                    <a:gd name="T28" fmla="*/ 66 w 107"/>
                    <a:gd name="T29" fmla="*/ 163 h 207"/>
                    <a:gd name="T30" fmla="*/ 62 w 107"/>
                    <a:gd name="T31" fmla="*/ 187 h 207"/>
                    <a:gd name="T32" fmla="*/ 62 w 107"/>
                    <a:gd name="T33" fmla="*/ 207 h 207"/>
                    <a:gd name="T34" fmla="*/ 3 w 107"/>
                    <a:gd name="T35" fmla="*/ 96 h 2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107" h="207">
                      <a:moveTo>
                        <a:pt x="3" y="96"/>
                      </a:moveTo>
                      <a:lnTo>
                        <a:pt x="0" y="82"/>
                      </a:lnTo>
                      <a:lnTo>
                        <a:pt x="0" y="69"/>
                      </a:lnTo>
                      <a:lnTo>
                        <a:pt x="2" y="58"/>
                      </a:lnTo>
                      <a:lnTo>
                        <a:pt x="6" y="42"/>
                      </a:lnTo>
                      <a:lnTo>
                        <a:pt x="12" y="29"/>
                      </a:lnTo>
                      <a:lnTo>
                        <a:pt x="21" y="17"/>
                      </a:lnTo>
                      <a:lnTo>
                        <a:pt x="31" y="7"/>
                      </a:lnTo>
                      <a:lnTo>
                        <a:pt x="41" y="0"/>
                      </a:lnTo>
                      <a:lnTo>
                        <a:pt x="107" y="112"/>
                      </a:lnTo>
                      <a:lnTo>
                        <a:pt x="95" y="119"/>
                      </a:lnTo>
                      <a:lnTo>
                        <a:pt x="87" y="127"/>
                      </a:lnTo>
                      <a:lnTo>
                        <a:pt x="79" y="135"/>
                      </a:lnTo>
                      <a:lnTo>
                        <a:pt x="73" y="145"/>
                      </a:lnTo>
                      <a:lnTo>
                        <a:pt x="66" y="163"/>
                      </a:lnTo>
                      <a:lnTo>
                        <a:pt x="62" y="187"/>
                      </a:lnTo>
                      <a:lnTo>
                        <a:pt x="62" y="207"/>
                      </a:lnTo>
                      <a:lnTo>
                        <a:pt x="3" y="96"/>
                      </a:lnTo>
                      <a:close/>
                    </a:path>
                  </a:pathLst>
                </a:custGeom>
                <a:solidFill>
                  <a:srgbClr val="3F1F00"/>
                </a:solidFill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97" name="Arc 55"/>
                <p:cNvSpPr>
                  <a:spLocks/>
                </p:cNvSpPr>
                <p:nvPr/>
              </p:nvSpPr>
              <p:spPr bwMode="invGray">
                <a:xfrm>
                  <a:off x="1240" y="2346"/>
                  <a:ext cx="87" cy="99"/>
                </a:xfrm>
                <a:custGeom>
                  <a:avLst/>
                  <a:gdLst>
                    <a:gd name="G0" fmla="+- 21600 0 0"/>
                    <a:gd name="G1" fmla="+- 20244 0 0"/>
                    <a:gd name="G2" fmla="+- 21600 0 0"/>
                    <a:gd name="T0" fmla="*/ 807 w 21600"/>
                    <a:gd name="T1" fmla="*/ 26092 h 26092"/>
                    <a:gd name="T2" fmla="*/ 14068 w 21600"/>
                    <a:gd name="T3" fmla="*/ 0 h 26092"/>
                    <a:gd name="T4" fmla="*/ 21600 w 21600"/>
                    <a:gd name="T5" fmla="*/ 20244 h 260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1600" h="26092" fill="none" extrusionOk="0">
                      <a:moveTo>
                        <a:pt x="806" y="26092"/>
                      </a:moveTo>
                      <a:cubicBezTo>
                        <a:pt x="271" y="24188"/>
                        <a:pt x="0" y="22221"/>
                        <a:pt x="0" y="20244"/>
                      </a:cubicBezTo>
                      <a:cubicBezTo>
                        <a:pt x="-1" y="11219"/>
                        <a:pt x="5610" y="3146"/>
                        <a:pt x="14067" y="-1"/>
                      </a:cubicBezTo>
                    </a:path>
                    <a:path w="21600" h="26092" stroke="0" extrusionOk="0">
                      <a:moveTo>
                        <a:pt x="806" y="26092"/>
                      </a:moveTo>
                      <a:cubicBezTo>
                        <a:pt x="271" y="24188"/>
                        <a:pt x="0" y="22221"/>
                        <a:pt x="0" y="20244"/>
                      </a:cubicBezTo>
                      <a:cubicBezTo>
                        <a:pt x="-1" y="11219"/>
                        <a:pt x="5610" y="3146"/>
                        <a:pt x="14067" y="-1"/>
                      </a:cubicBezTo>
                      <a:lnTo>
                        <a:pt x="21600" y="20244"/>
                      </a:lnTo>
                      <a:close/>
                    </a:path>
                  </a:pathLst>
                </a:custGeom>
                <a:noFill/>
                <a:ln w="12700">
                  <a:solidFill>
                    <a:schemeClr val="bg2">
                      <a:lumMod val="10000"/>
                    </a:schemeClr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98" name="Arc 56"/>
                <p:cNvSpPr>
                  <a:spLocks/>
                </p:cNvSpPr>
                <p:nvPr/>
              </p:nvSpPr>
              <p:spPr bwMode="invGray">
                <a:xfrm>
                  <a:off x="1303" y="2455"/>
                  <a:ext cx="171" cy="103"/>
                </a:xfrm>
                <a:custGeom>
                  <a:avLst/>
                  <a:gdLst>
                    <a:gd name="G0" fmla="+- 21600 0 0"/>
                    <a:gd name="G1" fmla="+- 21600 0 0"/>
                    <a:gd name="G2" fmla="+- 21600 0 0"/>
                    <a:gd name="T0" fmla="*/ 730 w 42293"/>
                    <a:gd name="T1" fmla="*/ 27167 h 27167"/>
                    <a:gd name="T2" fmla="*/ 42293 w 42293"/>
                    <a:gd name="T3" fmla="*/ 15407 h 27167"/>
                    <a:gd name="T4" fmla="*/ 21600 w 42293"/>
                    <a:gd name="T5" fmla="*/ 21600 h 271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2293" h="27167" fill="none" extrusionOk="0">
                      <a:moveTo>
                        <a:pt x="729" y="27167"/>
                      </a:moveTo>
                      <a:cubicBezTo>
                        <a:pt x="245" y="25351"/>
                        <a:pt x="0" y="23479"/>
                        <a:pt x="0" y="21600"/>
                      </a:cubicBezTo>
                      <a:cubicBezTo>
                        <a:pt x="0" y="9670"/>
                        <a:pt x="9670" y="0"/>
                        <a:pt x="21600" y="0"/>
                      </a:cubicBezTo>
                      <a:cubicBezTo>
                        <a:pt x="31144" y="-1"/>
                        <a:pt x="39556" y="6263"/>
                        <a:pt x="42293" y="15406"/>
                      </a:cubicBezTo>
                    </a:path>
                    <a:path w="42293" h="27167" stroke="0" extrusionOk="0">
                      <a:moveTo>
                        <a:pt x="729" y="27167"/>
                      </a:moveTo>
                      <a:cubicBezTo>
                        <a:pt x="245" y="25351"/>
                        <a:pt x="0" y="23479"/>
                        <a:pt x="0" y="21600"/>
                      </a:cubicBezTo>
                      <a:cubicBezTo>
                        <a:pt x="0" y="9670"/>
                        <a:pt x="9670" y="0"/>
                        <a:pt x="21600" y="0"/>
                      </a:cubicBezTo>
                      <a:cubicBezTo>
                        <a:pt x="31144" y="-1"/>
                        <a:pt x="39556" y="6263"/>
                        <a:pt x="42293" y="15406"/>
                      </a:cubicBezTo>
                      <a:lnTo>
                        <a:pt x="21600" y="21600"/>
                      </a:lnTo>
                      <a:close/>
                    </a:path>
                  </a:pathLst>
                </a:custGeom>
                <a:solidFill>
                  <a:srgbClr val="7F3F00"/>
                </a:solidFill>
                <a:ln w="12700">
                  <a:solidFill>
                    <a:schemeClr val="bg2">
                      <a:lumMod val="10000"/>
                    </a:scheme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GB"/>
                </a:p>
              </p:txBody>
            </p:sp>
            <p:grpSp>
              <p:nvGrpSpPr>
                <p:cNvPr id="99" name="Group 57"/>
                <p:cNvGrpSpPr>
                  <a:grpSpLocks/>
                </p:cNvGrpSpPr>
                <p:nvPr/>
              </p:nvGrpSpPr>
              <p:grpSpPr bwMode="auto">
                <a:xfrm>
                  <a:off x="1309" y="2471"/>
                  <a:ext cx="182" cy="119"/>
                  <a:chOff x="1309" y="2471"/>
                  <a:chExt cx="182" cy="119"/>
                </a:xfrm>
              </p:grpSpPr>
              <p:grpSp>
                <p:nvGrpSpPr>
                  <p:cNvPr id="129" name="Group 58"/>
                  <p:cNvGrpSpPr>
                    <a:grpSpLocks/>
                  </p:cNvGrpSpPr>
                  <p:nvPr/>
                </p:nvGrpSpPr>
                <p:grpSpPr bwMode="auto">
                  <a:xfrm>
                    <a:off x="1309" y="2471"/>
                    <a:ext cx="173" cy="101"/>
                    <a:chOff x="1309" y="2471"/>
                    <a:chExt cx="173" cy="101"/>
                  </a:xfrm>
                </p:grpSpPr>
                <p:sp>
                  <p:nvSpPr>
                    <p:cNvPr id="131" name="Arc 59"/>
                    <p:cNvSpPr>
                      <a:spLocks/>
                    </p:cNvSpPr>
                    <p:nvPr/>
                  </p:nvSpPr>
                  <p:spPr bwMode="invGray">
                    <a:xfrm>
                      <a:off x="1309" y="2471"/>
                      <a:ext cx="172" cy="100"/>
                    </a:xfrm>
                    <a:custGeom>
                      <a:avLst/>
                      <a:gdLst>
                        <a:gd name="G0" fmla="+- 21600 0 0"/>
                        <a:gd name="G1" fmla="+- 21600 0 0"/>
                        <a:gd name="G2" fmla="+- 21600 0 0"/>
                        <a:gd name="T0" fmla="*/ 531 w 42520"/>
                        <a:gd name="T1" fmla="*/ 26361 h 26361"/>
                        <a:gd name="T2" fmla="*/ 42520 w 42520"/>
                        <a:gd name="T3" fmla="*/ 16221 h 26361"/>
                        <a:gd name="T4" fmla="*/ 21600 w 42520"/>
                        <a:gd name="T5" fmla="*/ 21600 h 2636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42520" h="26361" fill="none" extrusionOk="0">
                          <a:moveTo>
                            <a:pt x="531" y="26360"/>
                          </a:moveTo>
                          <a:cubicBezTo>
                            <a:pt x="178" y="24798"/>
                            <a:pt x="0" y="23201"/>
                            <a:pt x="0" y="21600"/>
                          </a:cubicBezTo>
                          <a:cubicBezTo>
                            <a:pt x="0" y="9670"/>
                            <a:pt x="9670" y="0"/>
                            <a:pt x="21600" y="0"/>
                          </a:cubicBezTo>
                          <a:cubicBezTo>
                            <a:pt x="31457" y="-1"/>
                            <a:pt x="40064" y="6673"/>
                            <a:pt x="42519" y="16221"/>
                          </a:cubicBezTo>
                        </a:path>
                        <a:path w="42520" h="26361" stroke="0" extrusionOk="0">
                          <a:moveTo>
                            <a:pt x="531" y="26360"/>
                          </a:moveTo>
                          <a:cubicBezTo>
                            <a:pt x="178" y="24798"/>
                            <a:pt x="0" y="23201"/>
                            <a:pt x="0" y="21600"/>
                          </a:cubicBezTo>
                          <a:cubicBezTo>
                            <a:pt x="0" y="9670"/>
                            <a:pt x="9670" y="0"/>
                            <a:pt x="21600" y="0"/>
                          </a:cubicBezTo>
                          <a:cubicBezTo>
                            <a:pt x="31457" y="-1"/>
                            <a:pt x="40064" y="6673"/>
                            <a:pt x="42519" y="16221"/>
                          </a:cubicBezTo>
                          <a:lnTo>
                            <a:pt x="21600" y="21600"/>
                          </a:lnTo>
                          <a:close/>
                        </a:path>
                      </a:pathLst>
                    </a:custGeom>
                    <a:solidFill>
                      <a:srgbClr val="5F3F1F"/>
                    </a:solidFill>
                    <a:ln w="952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GB"/>
                    </a:p>
                  </p:txBody>
                </p:sp>
                <p:sp>
                  <p:nvSpPr>
                    <p:cNvPr id="132" name="Arc 60"/>
                    <p:cNvSpPr>
                      <a:spLocks/>
                    </p:cNvSpPr>
                    <p:nvPr/>
                  </p:nvSpPr>
                  <p:spPr bwMode="invGray">
                    <a:xfrm>
                      <a:off x="1309" y="2481"/>
                      <a:ext cx="88" cy="90"/>
                    </a:xfrm>
                    <a:custGeom>
                      <a:avLst/>
                      <a:gdLst>
                        <a:gd name="G0" fmla="+- 21600 0 0"/>
                        <a:gd name="G1" fmla="+- 18891 0 0"/>
                        <a:gd name="G2" fmla="+- 21600 0 0"/>
                        <a:gd name="T0" fmla="*/ 531 w 21600"/>
                        <a:gd name="T1" fmla="*/ 23652 h 23652"/>
                        <a:gd name="T2" fmla="*/ 11127 w 21600"/>
                        <a:gd name="T3" fmla="*/ 0 h 23652"/>
                        <a:gd name="T4" fmla="*/ 21600 w 21600"/>
                        <a:gd name="T5" fmla="*/ 18891 h 2365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1600" h="23652" fill="none" extrusionOk="0">
                          <a:moveTo>
                            <a:pt x="531" y="23651"/>
                          </a:moveTo>
                          <a:cubicBezTo>
                            <a:pt x="178" y="22089"/>
                            <a:pt x="0" y="20492"/>
                            <a:pt x="0" y="18891"/>
                          </a:cubicBezTo>
                          <a:cubicBezTo>
                            <a:pt x="-1" y="11039"/>
                            <a:pt x="4260" y="3806"/>
                            <a:pt x="11126" y="-1"/>
                          </a:cubicBezTo>
                        </a:path>
                        <a:path w="21600" h="23652" stroke="0" extrusionOk="0">
                          <a:moveTo>
                            <a:pt x="531" y="23651"/>
                          </a:moveTo>
                          <a:cubicBezTo>
                            <a:pt x="178" y="22089"/>
                            <a:pt x="0" y="20492"/>
                            <a:pt x="0" y="18891"/>
                          </a:cubicBezTo>
                          <a:cubicBezTo>
                            <a:pt x="-1" y="11039"/>
                            <a:pt x="4260" y="3806"/>
                            <a:pt x="11126" y="-1"/>
                          </a:cubicBezTo>
                          <a:lnTo>
                            <a:pt x="21600" y="18891"/>
                          </a:lnTo>
                          <a:close/>
                        </a:path>
                      </a:pathLst>
                    </a:custGeom>
                    <a:solidFill>
                      <a:srgbClr val="3F1F00"/>
                    </a:solidFill>
                    <a:ln w="952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GB"/>
                    </a:p>
                  </p:txBody>
                </p:sp>
                <p:sp>
                  <p:nvSpPr>
                    <p:cNvPr id="133" name="Arc 61"/>
                    <p:cNvSpPr>
                      <a:spLocks/>
                    </p:cNvSpPr>
                    <p:nvPr/>
                  </p:nvSpPr>
                  <p:spPr bwMode="invGray">
                    <a:xfrm>
                      <a:off x="1310" y="2471"/>
                      <a:ext cx="172" cy="101"/>
                    </a:xfrm>
                    <a:custGeom>
                      <a:avLst/>
                      <a:gdLst>
                        <a:gd name="G0" fmla="+- 21600 0 0"/>
                        <a:gd name="G1" fmla="+- 21600 0 0"/>
                        <a:gd name="G2" fmla="+- 21600 0 0"/>
                        <a:gd name="T0" fmla="*/ 603 w 42453"/>
                        <a:gd name="T1" fmla="*/ 26668 h 26668"/>
                        <a:gd name="T2" fmla="*/ 42453 w 42453"/>
                        <a:gd name="T3" fmla="*/ 15970 h 26668"/>
                        <a:gd name="T4" fmla="*/ 21600 w 42453"/>
                        <a:gd name="T5" fmla="*/ 21600 h 2666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42453" h="26668" fill="none" extrusionOk="0">
                          <a:moveTo>
                            <a:pt x="602" y="26668"/>
                          </a:moveTo>
                          <a:cubicBezTo>
                            <a:pt x="202" y="25008"/>
                            <a:pt x="0" y="23307"/>
                            <a:pt x="0" y="21600"/>
                          </a:cubicBezTo>
                          <a:cubicBezTo>
                            <a:pt x="0" y="9670"/>
                            <a:pt x="9670" y="0"/>
                            <a:pt x="21600" y="0"/>
                          </a:cubicBezTo>
                          <a:cubicBezTo>
                            <a:pt x="31361" y="-1"/>
                            <a:pt x="39909" y="6546"/>
                            <a:pt x="42453" y="15969"/>
                          </a:cubicBezTo>
                        </a:path>
                        <a:path w="42453" h="26668" stroke="0" extrusionOk="0">
                          <a:moveTo>
                            <a:pt x="602" y="26668"/>
                          </a:moveTo>
                          <a:cubicBezTo>
                            <a:pt x="202" y="25008"/>
                            <a:pt x="0" y="23307"/>
                            <a:pt x="0" y="21600"/>
                          </a:cubicBezTo>
                          <a:cubicBezTo>
                            <a:pt x="0" y="9670"/>
                            <a:pt x="9670" y="0"/>
                            <a:pt x="21600" y="0"/>
                          </a:cubicBezTo>
                          <a:cubicBezTo>
                            <a:pt x="31361" y="-1"/>
                            <a:pt x="39909" y="6546"/>
                            <a:pt x="42453" y="15969"/>
                          </a:cubicBezTo>
                          <a:lnTo>
                            <a:pt x="21600" y="21600"/>
                          </a:lnTo>
                          <a:close/>
                        </a:path>
                      </a:pathLst>
                    </a:custGeom>
                    <a:noFill/>
                    <a:ln w="12700">
                      <a:solidFill>
                        <a:schemeClr val="bg2">
                          <a:lumMod val="10000"/>
                        </a:schemeClr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  <p:txBody>
                    <a:bodyPr/>
                    <a:lstStyle/>
                    <a:p>
                      <a:endParaRPr lang="en-GB"/>
                    </a:p>
                  </p:txBody>
                </p:sp>
              </p:grpSp>
              <p:sp>
                <p:nvSpPr>
                  <p:cNvPr id="130" name="Arc 62"/>
                  <p:cNvSpPr>
                    <a:spLocks/>
                  </p:cNvSpPr>
                  <p:nvPr/>
                </p:nvSpPr>
                <p:spPr bwMode="invGray">
                  <a:xfrm>
                    <a:off x="1319" y="2489"/>
                    <a:ext cx="172" cy="101"/>
                  </a:xfrm>
                  <a:custGeom>
                    <a:avLst/>
                    <a:gdLst>
                      <a:gd name="G0" fmla="+- 21600 0 0"/>
                      <a:gd name="G1" fmla="+- 21600 0 0"/>
                      <a:gd name="G2" fmla="+- 21600 0 0"/>
                      <a:gd name="T0" fmla="*/ 603 w 42453"/>
                      <a:gd name="T1" fmla="*/ 26668 h 26668"/>
                      <a:gd name="T2" fmla="*/ 42453 w 42453"/>
                      <a:gd name="T3" fmla="*/ 15970 h 26668"/>
                      <a:gd name="T4" fmla="*/ 21600 w 42453"/>
                      <a:gd name="T5" fmla="*/ 21600 h 2666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42453" h="26668" fill="none" extrusionOk="0">
                        <a:moveTo>
                          <a:pt x="602" y="26668"/>
                        </a:moveTo>
                        <a:cubicBezTo>
                          <a:pt x="202" y="25008"/>
                          <a:pt x="0" y="23307"/>
                          <a:pt x="0" y="21600"/>
                        </a:cubicBezTo>
                        <a:cubicBezTo>
                          <a:pt x="0" y="9670"/>
                          <a:pt x="9670" y="0"/>
                          <a:pt x="21600" y="0"/>
                        </a:cubicBezTo>
                        <a:cubicBezTo>
                          <a:pt x="31361" y="-1"/>
                          <a:pt x="39909" y="6546"/>
                          <a:pt x="42453" y="15969"/>
                        </a:cubicBezTo>
                      </a:path>
                      <a:path w="42453" h="26668" stroke="0" extrusionOk="0">
                        <a:moveTo>
                          <a:pt x="602" y="26668"/>
                        </a:moveTo>
                        <a:cubicBezTo>
                          <a:pt x="202" y="25008"/>
                          <a:pt x="0" y="23307"/>
                          <a:pt x="0" y="21600"/>
                        </a:cubicBezTo>
                        <a:cubicBezTo>
                          <a:pt x="0" y="9670"/>
                          <a:pt x="9670" y="0"/>
                          <a:pt x="21600" y="0"/>
                        </a:cubicBezTo>
                        <a:cubicBezTo>
                          <a:pt x="31361" y="-1"/>
                          <a:pt x="39909" y="6546"/>
                          <a:pt x="42453" y="15969"/>
                        </a:cubicBezTo>
                        <a:lnTo>
                          <a:pt x="21600" y="21600"/>
                        </a:lnTo>
                        <a:close/>
                      </a:path>
                    </a:pathLst>
                  </a:custGeom>
                  <a:solidFill>
                    <a:srgbClr val="7F3F00"/>
                  </a:solidFill>
                  <a:ln w="12700">
                    <a:solidFill>
                      <a:schemeClr val="bg2">
                        <a:lumMod val="10000"/>
                      </a:schemeClr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GB"/>
                  </a:p>
                </p:txBody>
              </p:sp>
            </p:grpSp>
            <p:grpSp>
              <p:nvGrpSpPr>
                <p:cNvPr id="100" name="Group 63"/>
                <p:cNvGrpSpPr>
                  <a:grpSpLocks/>
                </p:cNvGrpSpPr>
                <p:nvPr/>
              </p:nvGrpSpPr>
              <p:grpSpPr bwMode="auto">
                <a:xfrm>
                  <a:off x="1326" y="2505"/>
                  <a:ext cx="182" cy="118"/>
                  <a:chOff x="1326" y="2505"/>
                  <a:chExt cx="182" cy="118"/>
                </a:xfrm>
              </p:grpSpPr>
              <p:grpSp>
                <p:nvGrpSpPr>
                  <p:cNvPr id="124" name="Group 64"/>
                  <p:cNvGrpSpPr>
                    <a:grpSpLocks/>
                  </p:cNvGrpSpPr>
                  <p:nvPr/>
                </p:nvGrpSpPr>
                <p:grpSpPr bwMode="auto">
                  <a:xfrm>
                    <a:off x="1326" y="2505"/>
                    <a:ext cx="173" cy="100"/>
                    <a:chOff x="1326" y="2505"/>
                    <a:chExt cx="173" cy="100"/>
                  </a:xfrm>
                </p:grpSpPr>
                <p:sp>
                  <p:nvSpPr>
                    <p:cNvPr id="126" name="Arc 65"/>
                    <p:cNvSpPr>
                      <a:spLocks/>
                    </p:cNvSpPr>
                    <p:nvPr/>
                  </p:nvSpPr>
                  <p:spPr bwMode="invGray">
                    <a:xfrm>
                      <a:off x="1326" y="2505"/>
                      <a:ext cx="173" cy="99"/>
                    </a:xfrm>
                    <a:custGeom>
                      <a:avLst/>
                      <a:gdLst>
                        <a:gd name="G0" fmla="+- 21600 0 0"/>
                        <a:gd name="G1" fmla="+- 21600 0 0"/>
                        <a:gd name="G2" fmla="+- 21600 0 0"/>
                        <a:gd name="T0" fmla="*/ 476 w 42583"/>
                        <a:gd name="T1" fmla="*/ 26108 h 26108"/>
                        <a:gd name="T2" fmla="*/ 42583 w 42583"/>
                        <a:gd name="T3" fmla="*/ 16474 h 26108"/>
                        <a:gd name="T4" fmla="*/ 21600 w 42583"/>
                        <a:gd name="T5" fmla="*/ 21600 h 2610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42583" h="26108" fill="none" extrusionOk="0">
                          <a:moveTo>
                            <a:pt x="475" y="26108"/>
                          </a:moveTo>
                          <a:cubicBezTo>
                            <a:pt x="159" y="24626"/>
                            <a:pt x="0" y="23115"/>
                            <a:pt x="0" y="21600"/>
                          </a:cubicBezTo>
                          <a:cubicBezTo>
                            <a:pt x="0" y="9670"/>
                            <a:pt x="9670" y="0"/>
                            <a:pt x="21600" y="0"/>
                          </a:cubicBezTo>
                          <a:cubicBezTo>
                            <a:pt x="31554" y="-1"/>
                            <a:pt x="40220" y="6803"/>
                            <a:pt x="42582" y="16474"/>
                          </a:cubicBezTo>
                        </a:path>
                        <a:path w="42583" h="26108" stroke="0" extrusionOk="0">
                          <a:moveTo>
                            <a:pt x="475" y="26108"/>
                          </a:moveTo>
                          <a:cubicBezTo>
                            <a:pt x="159" y="24626"/>
                            <a:pt x="0" y="23115"/>
                            <a:pt x="0" y="21600"/>
                          </a:cubicBezTo>
                          <a:cubicBezTo>
                            <a:pt x="0" y="9670"/>
                            <a:pt x="9670" y="0"/>
                            <a:pt x="21600" y="0"/>
                          </a:cubicBezTo>
                          <a:cubicBezTo>
                            <a:pt x="31554" y="-1"/>
                            <a:pt x="40220" y="6803"/>
                            <a:pt x="42582" y="16474"/>
                          </a:cubicBezTo>
                          <a:lnTo>
                            <a:pt x="21600" y="21600"/>
                          </a:lnTo>
                          <a:close/>
                        </a:path>
                      </a:pathLst>
                    </a:custGeom>
                    <a:solidFill>
                      <a:srgbClr val="5F3F1F"/>
                    </a:solidFill>
                    <a:ln w="952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GB"/>
                    </a:p>
                  </p:txBody>
                </p:sp>
                <p:sp>
                  <p:nvSpPr>
                    <p:cNvPr id="127" name="Arc 66"/>
                    <p:cNvSpPr>
                      <a:spLocks/>
                    </p:cNvSpPr>
                    <p:nvPr/>
                  </p:nvSpPr>
                  <p:spPr bwMode="invGray">
                    <a:xfrm>
                      <a:off x="1326" y="2515"/>
                      <a:ext cx="88" cy="89"/>
                    </a:xfrm>
                    <a:custGeom>
                      <a:avLst/>
                      <a:gdLst>
                        <a:gd name="G0" fmla="+- 21600 0 0"/>
                        <a:gd name="G1" fmla="+- 18891 0 0"/>
                        <a:gd name="G2" fmla="+- 21600 0 0"/>
                        <a:gd name="T0" fmla="*/ 476 w 21600"/>
                        <a:gd name="T1" fmla="*/ 23399 h 23399"/>
                        <a:gd name="T2" fmla="*/ 11127 w 21600"/>
                        <a:gd name="T3" fmla="*/ 0 h 23399"/>
                        <a:gd name="T4" fmla="*/ 21600 w 21600"/>
                        <a:gd name="T5" fmla="*/ 18891 h 2339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1600" h="23399" fill="none" extrusionOk="0">
                          <a:moveTo>
                            <a:pt x="475" y="23399"/>
                          </a:moveTo>
                          <a:cubicBezTo>
                            <a:pt x="159" y="21917"/>
                            <a:pt x="0" y="20406"/>
                            <a:pt x="0" y="18891"/>
                          </a:cubicBezTo>
                          <a:cubicBezTo>
                            <a:pt x="-1" y="11039"/>
                            <a:pt x="4260" y="3806"/>
                            <a:pt x="11126" y="-1"/>
                          </a:cubicBezTo>
                        </a:path>
                        <a:path w="21600" h="23399" stroke="0" extrusionOk="0">
                          <a:moveTo>
                            <a:pt x="475" y="23399"/>
                          </a:moveTo>
                          <a:cubicBezTo>
                            <a:pt x="159" y="21917"/>
                            <a:pt x="0" y="20406"/>
                            <a:pt x="0" y="18891"/>
                          </a:cubicBezTo>
                          <a:cubicBezTo>
                            <a:pt x="-1" y="11039"/>
                            <a:pt x="4260" y="3806"/>
                            <a:pt x="11126" y="-1"/>
                          </a:cubicBezTo>
                          <a:lnTo>
                            <a:pt x="21600" y="18891"/>
                          </a:lnTo>
                          <a:close/>
                        </a:path>
                      </a:pathLst>
                    </a:custGeom>
                    <a:solidFill>
                      <a:srgbClr val="3F1F00"/>
                    </a:solidFill>
                    <a:ln w="952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GB"/>
                    </a:p>
                  </p:txBody>
                </p:sp>
                <p:sp>
                  <p:nvSpPr>
                    <p:cNvPr id="128" name="Arc 67"/>
                    <p:cNvSpPr>
                      <a:spLocks/>
                    </p:cNvSpPr>
                    <p:nvPr/>
                  </p:nvSpPr>
                  <p:spPr bwMode="invGray">
                    <a:xfrm>
                      <a:off x="1327" y="2505"/>
                      <a:ext cx="172" cy="100"/>
                    </a:xfrm>
                    <a:custGeom>
                      <a:avLst/>
                      <a:gdLst>
                        <a:gd name="G0" fmla="+- 21600 0 0"/>
                        <a:gd name="G1" fmla="+- 21600 0 0"/>
                        <a:gd name="G2" fmla="+- 21600 0 0"/>
                        <a:gd name="T0" fmla="*/ 531 w 42520"/>
                        <a:gd name="T1" fmla="*/ 26361 h 26361"/>
                        <a:gd name="T2" fmla="*/ 42520 w 42520"/>
                        <a:gd name="T3" fmla="*/ 16221 h 26361"/>
                        <a:gd name="T4" fmla="*/ 21600 w 42520"/>
                        <a:gd name="T5" fmla="*/ 21600 h 2636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42520" h="26361" fill="none" extrusionOk="0">
                          <a:moveTo>
                            <a:pt x="531" y="26360"/>
                          </a:moveTo>
                          <a:cubicBezTo>
                            <a:pt x="178" y="24798"/>
                            <a:pt x="0" y="23201"/>
                            <a:pt x="0" y="21600"/>
                          </a:cubicBezTo>
                          <a:cubicBezTo>
                            <a:pt x="0" y="9670"/>
                            <a:pt x="9670" y="0"/>
                            <a:pt x="21600" y="0"/>
                          </a:cubicBezTo>
                          <a:cubicBezTo>
                            <a:pt x="31457" y="-1"/>
                            <a:pt x="40064" y="6673"/>
                            <a:pt x="42519" y="16221"/>
                          </a:cubicBezTo>
                        </a:path>
                        <a:path w="42520" h="26361" stroke="0" extrusionOk="0">
                          <a:moveTo>
                            <a:pt x="531" y="26360"/>
                          </a:moveTo>
                          <a:cubicBezTo>
                            <a:pt x="178" y="24798"/>
                            <a:pt x="0" y="23201"/>
                            <a:pt x="0" y="21600"/>
                          </a:cubicBezTo>
                          <a:cubicBezTo>
                            <a:pt x="0" y="9670"/>
                            <a:pt x="9670" y="0"/>
                            <a:pt x="21600" y="0"/>
                          </a:cubicBezTo>
                          <a:cubicBezTo>
                            <a:pt x="31457" y="-1"/>
                            <a:pt x="40064" y="6673"/>
                            <a:pt x="42519" y="16221"/>
                          </a:cubicBezTo>
                          <a:lnTo>
                            <a:pt x="21600" y="21600"/>
                          </a:lnTo>
                          <a:close/>
                        </a:path>
                      </a:pathLst>
                    </a:custGeom>
                    <a:noFill/>
                    <a:ln w="12700">
                      <a:solidFill>
                        <a:schemeClr val="bg2">
                          <a:lumMod val="10000"/>
                        </a:schemeClr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  <p:txBody>
                    <a:bodyPr/>
                    <a:lstStyle/>
                    <a:p>
                      <a:endParaRPr lang="en-GB"/>
                    </a:p>
                  </p:txBody>
                </p:sp>
              </p:grpSp>
              <p:sp>
                <p:nvSpPr>
                  <p:cNvPr id="125" name="Arc 68"/>
                  <p:cNvSpPr>
                    <a:spLocks/>
                  </p:cNvSpPr>
                  <p:nvPr/>
                </p:nvSpPr>
                <p:spPr bwMode="invGray">
                  <a:xfrm>
                    <a:off x="1336" y="2523"/>
                    <a:ext cx="172" cy="100"/>
                  </a:xfrm>
                  <a:custGeom>
                    <a:avLst/>
                    <a:gdLst>
                      <a:gd name="G0" fmla="+- 21600 0 0"/>
                      <a:gd name="G1" fmla="+- 21600 0 0"/>
                      <a:gd name="G2" fmla="+- 21600 0 0"/>
                      <a:gd name="T0" fmla="*/ 531 w 42520"/>
                      <a:gd name="T1" fmla="*/ 26361 h 26361"/>
                      <a:gd name="T2" fmla="*/ 42520 w 42520"/>
                      <a:gd name="T3" fmla="*/ 16221 h 26361"/>
                      <a:gd name="T4" fmla="*/ 21600 w 42520"/>
                      <a:gd name="T5" fmla="*/ 21600 h 2636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42520" h="26361" fill="none" extrusionOk="0">
                        <a:moveTo>
                          <a:pt x="531" y="26360"/>
                        </a:moveTo>
                        <a:cubicBezTo>
                          <a:pt x="178" y="24798"/>
                          <a:pt x="0" y="23201"/>
                          <a:pt x="0" y="21600"/>
                        </a:cubicBezTo>
                        <a:cubicBezTo>
                          <a:pt x="0" y="9670"/>
                          <a:pt x="9670" y="0"/>
                          <a:pt x="21600" y="0"/>
                        </a:cubicBezTo>
                        <a:cubicBezTo>
                          <a:pt x="31457" y="-1"/>
                          <a:pt x="40064" y="6673"/>
                          <a:pt x="42519" y="16221"/>
                        </a:cubicBezTo>
                      </a:path>
                      <a:path w="42520" h="26361" stroke="0" extrusionOk="0">
                        <a:moveTo>
                          <a:pt x="531" y="26360"/>
                        </a:moveTo>
                        <a:cubicBezTo>
                          <a:pt x="178" y="24798"/>
                          <a:pt x="0" y="23201"/>
                          <a:pt x="0" y="21600"/>
                        </a:cubicBezTo>
                        <a:cubicBezTo>
                          <a:pt x="0" y="9670"/>
                          <a:pt x="9670" y="0"/>
                          <a:pt x="21600" y="0"/>
                        </a:cubicBezTo>
                        <a:cubicBezTo>
                          <a:pt x="31457" y="-1"/>
                          <a:pt x="40064" y="6673"/>
                          <a:pt x="42519" y="16221"/>
                        </a:cubicBezTo>
                        <a:lnTo>
                          <a:pt x="21600" y="21600"/>
                        </a:lnTo>
                        <a:close/>
                      </a:path>
                    </a:pathLst>
                  </a:custGeom>
                  <a:solidFill>
                    <a:srgbClr val="7F3F00"/>
                  </a:solidFill>
                  <a:ln w="12700">
                    <a:solidFill>
                      <a:schemeClr val="bg2">
                        <a:lumMod val="10000"/>
                      </a:schemeClr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GB"/>
                  </a:p>
                </p:txBody>
              </p:sp>
            </p:grpSp>
            <p:grpSp>
              <p:nvGrpSpPr>
                <p:cNvPr id="101" name="Group 69"/>
                <p:cNvGrpSpPr>
                  <a:grpSpLocks/>
                </p:cNvGrpSpPr>
                <p:nvPr/>
              </p:nvGrpSpPr>
              <p:grpSpPr bwMode="auto">
                <a:xfrm>
                  <a:off x="1344" y="2537"/>
                  <a:ext cx="173" cy="98"/>
                  <a:chOff x="1344" y="2537"/>
                  <a:chExt cx="173" cy="98"/>
                </a:xfrm>
              </p:grpSpPr>
              <p:sp>
                <p:nvSpPr>
                  <p:cNvPr id="122" name="Arc 70"/>
                  <p:cNvSpPr>
                    <a:spLocks/>
                  </p:cNvSpPr>
                  <p:nvPr/>
                </p:nvSpPr>
                <p:spPr bwMode="invGray">
                  <a:xfrm>
                    <a:off x="1344" y="2537"/>
                    <a:ext cx="173" cy="98"/>
                  </a:xfrm>
                  <a:custGeom>
                    <a:avLst/>
                    <a:gdLst>
                      <a:gd name="G0" fmla="+- 21600 0 0"/>
                      <a:gd name="G1" fmla="+- 21600 0 0"/>
                      <a:gd name="G2" fmla="+- 21600 0 0"/>
                      <a:gd name="T0" fmla="*/ 423 w 42657"/>
                      <a:gd name="T1" fmla="*/ 25854 h 25854"/>
                      <a:gd name="T2" fmla="*/ 42657 w 42657"/>
                      <a:gd name="T3" fmla="*/ 16785 h 25854"/>
                      <a:gd name="T4" fmla="*/ 21600 w 42657"/>
                      <a:gd name="T5" fmla="*/ 21600 h 2585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42657" h="25854" fill="none" extrusionOk="0">
                        <a:moveTo>
                          <a:pt x="423" y="25853"/>
                        </a:moveTo>
                        <a:cubicBezTo>
                          <a:pt x="141" y="24453"/>
                          <a:pt x="0" y="23028"/>
                          <a:pt x="0" y="21600"/>
                        </a:cubicBezTo>
                        <a:cubicBezTo>
                          <a:pt x="0" y="9670"/>
                          <a:pt x="9670" y="0"/>
                          <a:pt x="21600" y="0"/>
                        </a:cubicBezTo>
                        <a:cubicBezTo>
                          <a:pt x="31674" y="-1"/>
                          <a:pt x="40410" y="6964"/>
                          <a:pt x="42656" y="16785"/>
                        </a:cubicBezTo>
                      </a:path>
                      <a:path w="42657" h="25854" stroke="0" extrusionOk="0">
                        <a:moveTo>
                          <a:pt x="423" y="25853"/>
                        </a:moveTo>
                        <a:cubicBezTo>
                          <a:pt x="141" y="24453"/>
                          <a:pt x="0" y="23028"/>
                          <a:pt x="0" y="21600"/>
                        </a:cubicBezTo>
                        <a:cubicBezTo>
                          <a:pt x="0" y="9670"/>
                          <a:pt x="9670" y="0"/>
                          <a:pt x="21600" y="0"/>
                        </a:cubicBezTo>
                        <a:cubicBezTo>
                          <a:pt x="31674" y="-1"/>
                          <a:pt x="40410" y="6964"/>
                          <a:pt x="42656" y="16785"/>
                        </a:cubicBezTo>
                        <a:lnTo>
                          <a:pt x="21600" y="21600"/>
                        </a:lnTo>
                        <a:close/>
                      </a:path>
                    </a:pathLst>
                  </a:custGeom>
                  <a:solidFill>
                    <a:srgbClr val="5F3F1F"/>
                  </a:solidFill>
                  <a:ln w="952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GB"/>
                  </a:p>
                </p:txBody>
              </p:sp>
              <p:sp>
                <p:nvSpPr>
                  <p:cNvPr id="123" name="Arc 71"/>
                  <p:cNvSpPr>
                    <a:spLocks/>
                  </p:cNvSpPr>
                  <p:nvPr/>
                </p:nvSpPr>
                <p:spPr bwMode="invGray">
                  <a:xfrm>
                    <a:off x="1344" y="2547"/>
                    <a:ext cx="88" cy="88"/>
                  </a:xfrm>
                  <a:custGeom>
                    <a:avLst/>
                    <a:gdLst>
                      <a:gd name="G0" fmla="+- 21600 0 0"/>
                      <a:gd name="G1" fmla="+- 18891 0 0"/>
                      <a:gd name="G2" fmla="+- 21600 0 0"/>
                      <a:gd name="T0" fmla="*/ 423 w 21600"/>
                      <a:gd name="T1" fmla="*/ 23145 h 23145"/>
                      <a:gd name="T2" fmla="*/ 11127 w 21600"/>
                      <a:gd name="T3" fmla="*/ 0 h 23145"/>
                      <a:gd name="T4" fmla="*/ 21600 w 21600"/>
                      <a:gd name="T5" fmla="*/ 18891 h 2314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3145" fill="none" extrusionOk="0">
                        <a:moveTo>
                          <a:pt x="423" y="23144"/>
                        </a:moveTo>
                        <a:cubicBezTo>
                          <a:pt x="141" y="21744"/>
                          <a:pt x="0" y="20319"/>
                          <a:pt x="0" y="18891"/>
                        </a:cubicBezTo>
                        <a:cubicBezTo>
                          <a:pt x="-1" y="11039"/>
                          <a:pt x="4260" y="3806"/>
                          <a:pt x="11126" y="-1"/>
                        </a:cubicBezTo>
                      </a:path>
                      <a:path w="21600" h="23145" stroke="0" extrusionOk="0">
                        <a:moveTo>
                          <a:pt x="423" y="23144"/>
                        </a:moveTo>
                        <a:cubicBezTo>
                          <a:pt x="141" y="21744"/>
                          <a:pt x="0" y="20319"/>
                          <a:pt x="0" y="18891"/>
                        </a:cubicBezTo>
                        <a:cubicBezTo>
                          <a:pt x="-1" y="11039"/>
                          <a:pt x="4260" y="3806"/>
                          <a:pt x="11126" y="-1"/>
                        </a:cubicBezTo>
                        <a:lnTo>
                          <a:pt x="21600" y="18891"/>
                        </a:lnTo>
                        <a:close/>
                      </a:path>
                    </a:pathLst>
                  </a:custGeom>
                  <a:solidFill>
                    <a:srgbClr val="3F1F00"/>
                  </a:solidFill>
                  <a:ln w="952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GB"/>
                  </a:p>
                </p:txBody>
              </p:sp>
            </p:grpSp>
            <p:grpSp>
              <p:nvGrpSpPr>
                <p:cNvPr id="102" name="Group 72"/>
                <p:cNvGrpSpPr>
                  <a:grpSpLocks/>
                </p:cNvGrpSpPr>
                <p:nvPr/>
              </p:nvGrpSpPr>
              <p:grpSpPr bwMode="auto">
                <a:xfrm>
                  <a:off x="1345" y="2537"/>
                  <a:ext cx="182" cy="117"/>
                  <a:chOff x="1345" y="2537"/>
                  <a:chExt cx="182" cy="117"/>
                </a:xfrm>
              </p:grpSpPr>
              <p:sp>
                <p:nvSpPr>
                  <p:cNvPr id="120" name="Arc 73"/>
                  <p:cNvSpPr>
                    <a:spLocks/>
                  </p:cNvSpPr>
                  <p:nvPr/>
                </p:nvSpPr>
                <p:spPr bwMode="invGray">
                  <a:xfrm>
                    <a:off x="1345" y="2537"/>
                    <a:ext cx="173" cy="99"/>
                  </a:xfrm>
                  <a:custGeom>
                    <a:avLst/>
                    <a:gdLst>
                      <a:gd name="G0" fmla="+- 21600 0 0"/>
                      <a:gd name="G1" fmla="+- 21600 0 0"/>
                      <a:gd name="G2" fmla="+- 21600 0 0"/>
                      <a:gd name="T0" fmla="*/ 476 w 42583"/>
                      <a:gd name="T1" fmla="*/ 26108 h 26108"/>
                      <a:gd name="T2" fmla="*/ 42583 w 42583"/>
                      <a:gd name="T3" fmla="*/ 16474 h 26108"/>
                      <a:gd name="T4" fmla="*/ 21600 w 42583"/>
                      <a:gd name="T5" fmla="*/ 21600 h 2610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42583" h="26108" fill="none" extrusionOk="0">
                        <a:moveTo>
                          <a:pt x="475" y="26108"/>
                        </a:moveTo>
                        <a:cubicBezTo>
                          <a:pt x="159" y="24626"/>
                          <a:pt x="0" y="23115"/>
                          <a:pt x="0" y="21600"/>
                        </a:cubicBezTo>
                        <a:cubicBezTo>
                          <a:pt x="0" y="9670"/>
                          <a:pt x="9670" y="0"/>
                          <a:pt x="21600" y="0"/>
                        </a:cubicBezTo>
                        <a:cubicBezTo>
                          <a:pt x="31554" y="-1"/>
                          <a:pt x="40220" y="6803"/>
                          <a:pt x="42582" y="16474"/>
                        </a:cubicBezTo>
                      </a:path>
                      <a:path w="42583" h="26108" stroke="0" extrusionOk="0">
                        <a:moveTo>
                          <a:pt x="475" y="26108"/>
                        </a:moveTo>
                        <a:cubicBezTo>
                          <a:pt x="159" y="24626"/>
                          <a:pt x="0" y="23115"/>
                          <a:pt x="0" y="21600"/>
                        </a:cubicBezTo>
                        <a:cubicBezTo>
                          <a:pt x="0" y="9670"/>
                          <a:pt x="9670" y="0"/>
                          <a:pt x="21600" y="0"/>
                        </a:cubicBezTo>
                        <a:cubicBezTo>
                          <a:pt x="31554" y="-1"/>
                          <a:pt x="40220" y="6803"/>
                          <a:pt x="42582" y="16474"/>
                        </a:cubicBezTo>
                        <a:lnTo>
                          <a:pt x="21600" y="21600"/>
                        </a:lnTo>
                        <a:close/>
                      </a:path>
                    </a:pathLst>
                  </a:custGeom>
                  <a:noFill/>
                  <a:ln w="12700">
                    <a:solidFill>
                      <a:schemeClr val="bg2">
                        <a:lumMod val="10000"/>
                      </a:schemeClr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/>
                  <a:lstStyle/>
                  <a:p>
                    <a:endParaRPr lang="en-GB"/>
                  </a:p>
                </p:txBody>
              </p:sp>
              <p:sp>
                <p:nvSpPr>
                  <p:cNvPr id="121" name="Arc 74"/>
                  <p:cNvSpPr>
                    <a:spLocks/>
                  </p:cNvSpPr>
                  <p:nvPr/>
                </p:nvSpPr>
                <p:spPr bwMode="invGray">
                  <a:xfrm>
                    <a:off x="1354" y="2555"/>
                    <a:ext cx="173" cy="99"/>
                  </a:xfrm>
                  <a:custGeom>
                    <a:avLst/>
                    <a:gdLst>
                      <a:gd name="G0" fmla="+- 21600 0 0"/>
                      <a:gd name="G1" fmla="+- 21600 0 0"/>
                      <a:gd name="G2" fmla="+- 21600 0 0"/>
                      <a:gd name="T0" fmla="*/ 476 w 42583"/>
                      <a:gd name="T1" fmla="*/ 26108 h 26108"/>
                      <a:gd name="T2" fmla="*/ 42583 w 42583"/>
                      <a:gd name="T3" fmla="*/ 16474 h 26108"/>
                      <a:gd name="T4" fmla="*/ 21600 w 42583"/>
                      <a:gd name="T5" fmla="*/ 21600 h 2610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42583" h="26108" fill="none" extrusionOk="0">
                        <a:moveTo>
                          <a:pt x="475" y="26108"/>
                        </a:moveTo>
                        <a:cubicBezTo>
                          <a:pt x="159" y="24626"/>
                          <a:pt x="0" y="23115"/>
                          <a:pt x="0" y="21600"/>
                        </a:cubicBezTo>
                        <a:cubicBezTo>
                          <a:pt x="0" y="9670"/>
                          <a:pt x="9670" y="0"/>
                          <a:pt x="21600" y="0"/>
                        </a:cubicBezTo>
                        <a:cubicBezTo>
                          <a:pt x="31554" y="-1"/>
                          <a:pt x="40220" y="6803"/>
                          <a:pt x="42582" y="16474"/>
                        </a:cubicBezTo>
                      </a:path>
                      <a:path w="42583" h="26108" stroke="0" extrusionOk="0">
                        <a:moveTo>
                          <a:pt x="475" y="26108"/>
                        </a:moveTo>
                        <a:cubicBezTo>
                          <a:pt x="159" y="24626"/>
                          <a:pt x="0" y="23115"/>
                          <a:pt x="0" y="21600"/>
                        </a:cubicBezTo>
                        <a:cubicBezTo>
                          <a:pt x="0" y="9670"/>
                          <a:pt x="9670" y="0"/>
                          <a:pt x="21600" y="0"/>
                        </a:cubicBezTo>
                        <a:cubicBezTo>
                          <a:pt x="31554" y="-1"/>
                          <a:pt x="40220" y="6803"/>
                          <a:pt x="42582" y="16474"/>
                        </a:cubicBezTo>
                        <a:lnTo>
                          <a:pt x="21600" y="21600"/>
                        </a:lnTo>
                        <a:close/>
                      </a:path>
                    </a:pathLst>
                  </a:custGeom>
                  <a:solidFill>
                    <a:srgbClr val="7F3F00"/>
                  </a:solidFill>
                  <a:ln w="12700">
                    <a:solidFill>
                      <a:schemeClr val="bg2">
                        <a:lumMod val="10000"/>
                      </a:schemeClr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GB"/>
                  </a:p>
                </p:txBody>
              </p:sp>
            </p:grpSp>
            <p:grpSp>
              <p:nvGrpSpPr>
                <p:cNvPr id="109" name="Group 75"/>
                <p:cNvGrpSpPr>
                  <a:grpSpLocks/>
                </p:cNvGrpSpPr>
                <p:nvPr/>
              </p:nvGrpSpPr>
              <p:grpSpPr bwMode="auto">
                <a:xfrm>
                  <a:off x="1245" y="2392"/>
                  <a:ext cx="565" cy="811"/>
                  <a:chOff x="1245" y="2392"/>
                  <a:chExt cx="565" cy="811"/>
                </a:xfrm>
              </p:grpSpPr>
              <p:sp>
                <p:nvSpPr>
                  <p:cNvPr id="118" name="Line 76"/>
                  <p:cNvSpPr>
                    <a:spLocks noChangeShapeType="1"/>
                  </p:cNvSpPr>
                  <p:nvPr/>
                </p:nvSpPr>
                <p:spPr bwMode="invGray">
                  <a:xfrm>
                    <a:off x="1409" y="2392"/>
                    <a:ext cx="401" cy="721"/>
                  </a:xfrm>
                  <a:prstGeom prst="line">
                    <a:avLst/>
                  </a:prstGeom>
                  <a:noFill/>
                  <a:ln w="12700">
                    <a:solidFill>
                      <a:schemeClr val="bg2">
                        <a:lumMod val="10000"/>
                      </a:schemeClr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/>
                  <a:lstStyle/>
                  <a:p>
                    <a:endParaRPr lang="en-GB"/>
                  </a:p>
                </p:txBody>
              </p:sp>
              <p:sp>
                <p:nvSpPr>
                  <p:cNvPr id="119" name="Line 77"/>
                  <p:cNvSpPr>
                    <a:spLocks noChangeShapeType="1"/>
                  </p:cNvSpPr>
                  <p:nvPr/>
                </p:nvSpPr>
                <p:spPr bwMode="invGray">
                  <a:xfrm>
                    <a:off x="1245" y="2450"/>
                    <a:ext cx="402" cy="753"/>
                  </a:xfrm>
                  <a:prstGeom prst="line">
                    <a:avLst/>
                  </a:prstGeom>
                  <a:noFill/>
                  <a:ln w="12700">
                    <a:solidFill>
                      <a:schemeClr val="bg2">
                        <a:lumMod val="10000"/>
                      </a:schemeClr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/>
                  <a:lstStyle/>
                  <a:p>
                    <a:endParaRPr lang="en-GB"/>
                  </a:p>
                </p:txBody>
              </p:sp>
            </p:grpSp>
            <p:grpSp>
              <p:nvGrpSpPr>
                <p:cNvPr id="110" name="Group 78"/>
                <p:cNvGrpSpPr>
                  <a:grpSpLocks/>
                </p:cNvGrpSpPr>
                <p:nvPr/>
              </p:nvGrpSpPr>
              <p:grpSpPr bwMode="auto">
                <a:xfrm>
                  <a:off x="1362" y="2569"/>
                  <a:ext cx="181" cy="116"/>
                  <a:chOff x="1362" y="2569"/>
                  <a:chExt cx="181" cy="116"/>
                </a:xfrm>
              </p:grpSpPr>
              <p:grpSp>
                <p:nvGrpSpPr>
                  <p:cNvPr id="113" name="Group 79"/>
                  <p:cNvGrpSpPr>
                    <a:grpSpLocks/>
                  </p:cNvGrpSpPr>
                  <p:nvPr/>
                </p:nvGrpSpPr>
                <p:grpSpPr bwMode="auto">
                  <a:xfrm>
                    <a:off x="1362" y="2569"/>
                    <a:ext cx="173" cy="97"/>
                    <a:chOff x="1362" y="2569"/>
                    <a:chExt cx="173" cy="97"/>
                  </a:xfrm>
                </p:grpSpPr>
                <p:sp>
                  <p:nvSpPr>
                    <p:cNvPr id="116" name="Arc 80"/>
                    <p:cNvSpPr>
                      <a:spLocks/>
                    </p:cNvSpPr>
                    <p:nvPr/>
                  </p:nvSpPr>
                  <p:spPr bwMode="invGray">
                    <a:xfrm>
                      <a:off x="1362" y="2569"/>
                      <a:ext cx="173" cy="97"/>
                    </a:xfrm>
                    <a:custGeom>
                      <a:avLst/>
                      <a:gdLst>
                        <a:gd name="G0" fmla="+- 21600 0 0"/>
                        <a:gd name="G1" fmla="+- 21600 0 0"/>
                        <a:gd name="G2" fmla="+- 21600 0 0"/>
                        <a:gd name="T0" fmla="*/ 373 w 42713"/>
                        <a:gd name="T1" fmla="*/ 25597 h 25597"/>
                        <a:gd name="T2" fmla="*/ 42713 w 42713"/>
                        <a:gd name="T3" fmla="*/ 17040 h 25597"/>
                        <a:gd name="T4" fmla="*/ 21600 w 42713"/>
                        <a:gd name="T5" fmla="*/ 21600 h 2559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42713" h="25597" fill="none" extrusionOk="0">
                          <a:moveTo>
                            <a:pt x="373" y="25596"/>
                          </a:moveTo>
                          <a:cubicBezTo>
                            <a:pt x="124" y="24279"/>
                            <a:pt x="0" y="22941"/>
                            <a:pt x="0" y="21600"/>
                          </a:cubicBezTo>
                          <a:cubicBezTo>
                            <a:pt x="0" y="9670"/>
                            <a:pt x="9670" y="0"/>
                            <a:pt x="21600" y="0"/>
                          </a:cubicBezTo>
                          <a:cubicBezTo>
                            <a:pt x="31772" y="-1"/>
                            <a:pt x="40565" y="7097"/>
                            <a:pt x="42713" y="17039"/>
                          </a:cubicBezTo>
                        </a:path>
                        <a:path w="42713" h="25597" stroke="0" extrusionOk="0">
                          <a:moveTo>
                            <a:pt x="373" y="25596"/>
                          </a:moveTo>
                          <a:cubicBezTo>
                            <a:pt x="124" y="24279"/>
                            <a:pt x="0" y="22941"/>
                            <a:pt x="0" y="21600"/>
                          </a:cubicBezTo>
                          <a:cubicBezTo>
                            <a:pt x="0" y="9670"/>
                            <a:pt x="9670" y="0"/>
                            <a:pt x="21600" y="0"/>
                          </a:cubicBezTo>
                          <a:cubicBezTo>
                            <a:pt x="31772" y="-1"/>
                            <a:pt x="40565" y="7097"/>
                            <a:pt x="42713" y="17039"/>
                          </a:cubicBezTo>
                          <a:lnTo>
                            <a:pt x="21600" y="21600"/>
                          </a:lnTo>
                          <a:close/>
                        </a:path>
                      </a:pathLst>
                    </a:custGeom>
                    <a:solidFill>
                      <a:srgbClr val="5F3F1F"/>
                    </a:solidFill>
                    <a:ln w="952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GB"/>
                    </a:p>
                  </p:txBody>
                </p:sp>
                <p:sp>
                  <p:nvSpPr>
                    <p:cNvPr id="117" name="Arc 81"/>
                    <p:cNvSpPr>
                      <a:spLocks/>
                    </p:cNvSpPr>
                    <p:nvPr/>
                  </p:nvSpPr>
                  <p:spPr bwMode="invGray">
                    <a:xfrm>
                      <a:off x="1362" y="2579"/>
                      <a:ext cx="88" cy="87"/>
                    </a:xfrm>
                    <a:custGeom>
                      <a:avLst/>
                      <a:gdLst>
                        <a:gd name="G0" fmla="+- 21600 0 0"/>
                        <a:gd name="G1" fmla="+- 18891 0 0"/>
                        <a:gd name="G2" fmla="+- 21600 0 0"/>
                        <a:gd name="T0" fmla="*/ 373 w 21600"/>
                        <a:gd name="T1" fmla="*/ 22888 h 22888"/>
                        <a:gd name="T2" fmla="*/ 11127 w 21600"/>
                        <a:gd name="T3" fmla="*/ 0 h 22888"/>
                        <a:gd name="T4" fmla="*/ 21600 w 21600"/>
                        <a:gd name="T5" fmla="*/ 18891 h 2288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21600" h="22888" fill="none" extrusionOk="0">
                          <a:moveTo>
                            <a:pt x="373" y="22887"/>
                          </a:moveTo>
                          <a:cubicBezTo>
                            <a:pt x="124" y="21570"/>
                            <a:pt x="0" y="20232"/>
                            <a:pt x="0" y="18891"/>
                          </a:cubicBezTo>
                          <a:cubicBezTo>
                            <a:pt x="-1" y="11039"/>
                            <a:pt x="4260" y="3806"/>
                            <a:pt x="11126" y="-1"/>
                          </a:cubicBezTo>
                        </a:path>
                        <a:path w="21600" h="22888" stroke="0" extrusionOk="0">
                          <a:moveTo>
                            <a:pt x="373" y="22887"/>
                          </a:moveTo>
                          <a:cubicBezTo>
                            <a:pt x="124" y="21570"/>
                            <a:pt x="0" y="20232"/>
                            <a:pt x="0" y="18891"/>
                          </a:cubicBezTo>
                          <a:cubicBezTo>
                            <a:pt x="-1" y="11039"/>
                            <a:pt x="4260" y="3806"/>
                            <a:pt x="11126" y="-1"/>
                          </a:cubicBezTo>
                          <a:lnTo>
                            <a:pt x="21600" y="18891"/>
                          </a:lnTo>
                          <a:close/>
                        </a:path>
                      </a:pathLst>
                    </a:custGeom>
                    <a:solidFill>
                      <a:srgbClr val="3F1F00"/>
                    </a:solidFill>
                    <a:ln w="952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GB"/>
                    </a:p>
                  </p:txBody>
                </p:sp>
              </p:grpSp>
              <p:sp>
                <p:nvSpPr>
                  <p:cNvPr id="114" name="Arc 82"/>
                  <p:cNvSpPr>
                    <a:spLocks/>
                  </p:cNvSpPr>
                  <p:nvPr/>
                </p:nvSpPr>
                <p:spPr bwMode="invGray">
                  <a:xfrm>
                    <a:off x="1363" y="2569"/>
                    <a:ext cx="173" cy="98"/>
                  </a:xfrm>
                  <a:custGeom>
                    <a:avLst/>
                    <a:gdLst>
                      <a:gd name="G0" fmla="+- 21600 0 0"/>
                      <a:gd name="G1" fmla="+- 21600 0 0"/>
                      <a:gd name="G2" fmla="+- 21600 0 0"/>
                      <a:gd name="T0" fmla="*/ 423 w 42657"/>
                      <a:gd name="T1" fmla="*/ 25854 h 25854"/>
                      <a:gd name="T2" fmla="*/ 42657 w 42657"/>
                      <a:gd name="T3" fmla="*/ 16785 h 25854"/>
                      <a:gd name="T4" fmla="*/ 21600 w 42657"/>
                      <a:gd name="T5" fmla="*/ 21600 h 2585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42657" h="25854" fill="none" extrusionOk="0">
                        <a:moveTo>
                          <a:pt x="423" y="25853"/>
                        </a:moveTo>
                        <a:cubicBezTo>
                          <a:pt x="141" y="24453"/>
                          <a:pt x="0" y="23028"/>
                          <a:pt x="0" y="21600"/>
                        </a:cubicBezTo>
                        <a:cubicBezTo>
                          <a:pt x="0" y="9670"/>
                          <a:pt x="9670" y="0"/>
                          <a:pt x="21600" y="0"/>
                        </a:cubicBezTo>
                        <a:cubicBezTo>
                          <a:pt x="31674" y="-1"/>
                          <a:pt x="40410" y="6964"/>
                          <a:pt x="42656" y="16785"/>
                        </a:cubicBezTo>
                      </a:path>
                      <a:path w="42657" h="25854" stroke="0" extrusionOk="0">
                        <a:moveTo>
                          <a:pt x="423" y="25853"/>
                        </a:moveTo>
                        <a:cubicBezTo>
                          <a:pt x="141" y="24453"/>
                          <a:pt x="0" y="23028"/>
                          <a:pt x="0" y="21600"/>
                        </a:cubicBezTo>
                        <a:cubicBezTo>
                          <a:pt x="0" y="9670"/>
                          <a:pt x="9670" y="0"/>
                          <a:pt x="21600" y="0"/>
                        </a:cubicBezTo>
                        <a:cubicBezTo>
                          <a:pt x="31674" y="-1"/>
                          <a:pt x="40410" y="6964"/>
                          <a:pt x="42656" y="16785"/>
                        </a:cubicBezTo>
                        <a:lnTo>
                          <a:pt x="21600" y="21600"/>
                        </a:lnTo>
                        <a:close/>
                      </a:path>
                    </a:pathLst>
                  </a:custGeom>
                  <a:noFill/>
                  <a:ln w="12700">
                    <a:solidFill>
                      <a:schemeClr val="bg2">
                        <a:lumMod val="10000"/>
                      </a:schemeClr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/>
                  <a:lstStyle/>
                  <a:p>
                    <a:endParaRPr lang="en-GB"/>
                  </a:p>
                </p:txBody>
              </p:sp>
              <p:sp>
                <p:nvSpPr>
                  <p:cNvPr id="115" name="Arc 83"/>
                  <p:cNvSpPr>
                    <a:spLocks/>
                  </p:cNvSpPr>
                  <p:nvPr/>
                </p:nvSpPr>
                <p:spPr bwMode="invGray">
                  <a:xfrm>
                    <a:off x="1371" y="2584"/>
                    <a:ext cx="172" cy="101"/>
                  </a:xfrm>
                  <a:custGeom>
                    <a:avLst/>
                    <a:gdLst>
                      <a:gd name="G0" fmla="+- 21600 0 0"/>
                      <a:gd name="G1" fmla="+- 21600 0 0"/>
                      <a:gd name="G2" fmla="+- 21600 0 0"/>
                      <a:gd name="T0" fmla="*/ 603 w 42453"/>
                      <a:gd name="T1" fmla="*/ 26668 h 26668"/>
                      <a:gd name="T2" fmla="*/ 42453 w 42453"/>
                      <a:gd name="T3" fmla="*/ 15970 h 26668"/>
                      <a:gd name="T4" fmla="*/ 21600 w 42453"/>
                      <a:gd name="T5" fmla="*/ 21600 h 2666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42453" h="26668" fill="none" extrusionOk="0">
                        <a:moveTo>
                          <a:pt x="602" y="26668"/>
                        </a:moveTo>
                        <a:cubicBezTo>
                          <a:pt x="202" y="25008"/>
                          <a:pt x="0" y="23307"/>
                          <a:pt x="0" y="21600"/>
                        </a:cubicBezTo>
                        <a:cubicBezTo>
                          <a:pt x="0" y="9670"/>
                          <a:pt x="9670" y="0"/>
                          <a:pt x="21600" y="0"/>
                        </a:cubicBezTo>
                        <a:cubicBezTo>
                          <a:pt x="31361" y="-1"/>
                          <a:pt x="39909" y="6546"/>
                          <a:pt x="42453" y="15969"/>
                        </a:cubicBezTo>
                      </a:path>
                      <a:path w="42453" h="26668" stroke="0" extrusionOk="0">
                        <a:moveTo>
                          <a:pt x="602" y="26668"/>
                        </a:moveTo>
                        <a:cubicBezTo>
                          <a:pt x="202" y="25008"/>
                          <a:pt x="0" y="23307"/>
                          <a:pt x="0" y="21600"/>
                        </a:cubicBezTo>
                        <a:cubicBezTo>
                          <a:pt x="0" y="9670"/>
                          <a:pt x="9670" y="0"/>
                          <a:pt x="21600" y="0"/>
                        </a:cubicBezTo>
                        <a:cubicBezTo>
                          <a:pt x="31361" y="-1"/>
                          <a:pt x="39909" y="6546"/>
                          <a:pt x="42453" y="15969"/>
                        </a:cubicBezTo>
                        <a:lnTo>
                          <a:pt x="21600" y="21600"/>
                        </a:lnTo>
                        <a:close/>
                      </a:path>
                    </a:pathLst>
                  </a:custGeom>
                  <a:solidFill>
                    <a:srgbClr val="5F3F1F"/>
                  </a:solidFill>
                  <a:ln w="952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GB"/>
                  </a:p>
                </p:txBody>
              </p:sp>
            </p:grpSp>
            <p:sp>
              <p:nvSpPr>
                <p:cNvPr id="111" name="Freeform 84"/>
                <p:cNvSpPr>
                  <a:spLocks/>
                </p:cNvSpPr>
                <p:nvPr/>
              </p:nvSpPr>
              <p:spPr bwMode="invGray">
                <a:xfrm>
                  <a:off x="1367" y="2588"/>
                  <a:ext cx="348" cy="597"/>
                </a:xfrm>
                <a:custGeom>
                  <a:avLst/>
                  <a:gdLst>
                    <a:gd name="T0" fmla="*/ 44 w 348"/>
                    <a:gd name="T1" fmla="*/ 0 h 597"/>
                    <a:gd name="T2" fmla="*/ 31 w 348"/>
                    <a:gd name="T3" fmla="*/ 8 h 597"/>
                    <a:gd name="T4" fmla="*/ 21 w 348"/>
                    <a:gd name="T5" fmla="*/ 16 h 597"/>
                    <a:gd name="T6" fmla="*/ 12 w 348"/>
                    <a:gd name="T7" fmla="*/ 26 h 597"/>
                    <a:gd name="T8" fmla="*/ 8 w 348"/>
                    <a:gd name="T9" fmla="*/ 36 h 597"/>
                    <a:gd name="T10" fmla="*/ 4 w 348"/>
                    <a:gd name="T11" fmla="*/ 47 h 597"/>
                    <a:gd name="T12" fmla="*/ 1 w 348"/>
                    <a:gd name="T13" fmla="*/ 58 h 597"/>
                    <a:gd name="T14" fmla="*/ 0 w 348"/>
                    <a:gd name="T15" fmla="*/ 71 h 597"/>
                    <a:gd name="T16" fmla="*/ 0 w 348"/>
                    <a:gd name="T17" fmla="*/ 86 h 597"/>
                    <a:gd name="T18" fmla="*/ 270 w 348"/>
                    <a:gd name="T19" fmla="*/ 597 h 597"/>
                    <a:gd name="T20" fmla="*/ 348 w 348"/>
                    <a:gd name="T21" fmla="*/ 543 h 597"/>
                    <a:gd name="T22" fmla="*/ 44 w 348"/>
                    <a:gd name="T23" fmla="*/ 0 h 5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348" h="597">
                      <a:moveTo>
                        <a:pt x="44" y="0"/>
                      </a:moveTo>
                      <a:lnTo>
                        <a:pt x="31" y="8"/>
                      </a:lnTo>
                      <a:lnTo>
                        <a:pt x="21" y="16"/>
                      </a:lnTo>
                      <a:lnTo>
                        <a:pt x="12" y="26"/>
                      </a:lnTo>
                      <a:lnTo>
                        <a:pt x="8" y="36"/>
                      </a:lnTo>
                      <a:lnTo>
                        <a:pt x="4" y="47"/>
                      </a:lnTo>
                      <a:lnTo>
                        <a:pt x="1" y="58"/>
                      </a:lnTo>
                      <a:lnTo>
                        <a:pt x="0" y="71"/>
                      </a:lnTo>
                      <a:lnTo>
                        <a:pt x="0" y="86"/>
                      </a:lnTo>
                      <a:lnTo>
                        <a:pt x="270" y="597"/>
                      </a:lnTo>
                      <a:lnTo>
                        <a:pt x="348" y="543"/>
                      </a:lnTo>
                      <a:lnTo>
                        <a:pt x="44" y="0"/>
                      </a:lnTo>
                      <a:close/>
                    </a:path>
                  </a:pathLst>
                </a:custGeom>
                <a:solidFill>
                  <a:srgbClr val="3F1F00"/>
                </a:solidFill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112" name="Oval 85"/>
                <p:cNvSpPr>
                  <a:spLocks noChangeArrowheads="1"/>
                </p:cNvSpPr>
                <p:nvPr/>
              </p:nvSpPr>
              <p:spPr bwMode="invGray">
                <a:xfrm>
                  <a:off x="1641" y="3083"/>
                  <a:ext cx="190" cy="183"/>
                </a:xfrm>
                <a:prstGeom prst="ellipse">
                  <a:avLst/>
                </a:prstGeom>
                <a:solidFill>
                  <a:srgbClr val="7F5F3F"/>
                </a:solidFill>
                <a:ln w="12700">
                  <a:solidFill>
                    <a:schemeClr val="bg2">
                      <a:lumMod val="10000"/>
                    </a:scheme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GB"/>
                </a:p>
              </p:txBody>
            </p:sp>
          </p:grpSp>
        </p:grpSp>
        <p:cxnSp>
          <p:nvCxnSpPr>
            <p:cNvPr id="17" name="Straight Connector 16"/>
            <p:cNvCxnSpPr/>
            <p:nvPr/>
          </p:nvCxnSpPr>
          <p:spPr>
            <a:xfrm flipH="1" flipV="1">
              <a:off x="7693614" y="984758"/>
              <a:ext cx="586798" cy="235390"/>
            </a:xfrm>
            <a:prstGeom prst="line">
              <a:avLst/>
            </a:prstGeom>
            <a:ln>
              <a:solidFill>
                <a:schemeClr val="tx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9" name="Straight Connector 148"/>
            <p:cNvCxnSpPr/>
            <p:nvPr/>
          </p:nvCxnSpPr>
          <p:spPr>
            <a:xfrm flipH="1" flipV="1">
              <a:off x="7668344" y="984758"/>
              <a:ext cx="538370" cy="403820"/>
            </a:xfrm>
            <a:prstGeom prst="line">
              <a:avLst/>
            </a:prstGeom>
            <a:ln>
              <a:solidFill>
                <a:schemeClr val="tx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4" name="Group 153"/>
          <p:cNvGrpSpPr/>
          <p:nvPr/>
        </p:nvGrpSpPr>
        <p:grpSpPr>
          <a:xfrm>
            <a:off x="7164288" y="2293130"/>
            <a:ext cx="864096" cy="1080121"/>
            <a:chOff x="3923928" y="4797151"/>
            <a:chExt cx="864097" cy="864097"/>
          </a:xfrm>
        </p:grpSpPr>
        <p:sp>
          <p:nvSpPr>
            <p:cNvPr id="155" name="Freeform 159"/>
            <p:cNvSpPr>
              <a:spLocks/>
            </p:cNvSpPr>
            <p:nvPr/>
          </p:nvSpPr>
          <p:spPr bwMode="auto">
            <a:xfrm>
              <a:off x="3923928" y="4797151"/>
              <a:ext cx="864097" cy="864097"/>
            </a:xfrm>
            <a:custGeom>
              <a:avLst/>
              <a:gdLst>
                <a:gd name="T0" fmla="*/ 38 w 2766"/>
                <a:gd name="T1" fmla="*/ 0 h 1884"/>
                <a:gd name="T2" fmla="*/ 2766 w 2766"/>
                <a:gd name="T3" fmla="*/ 0 h 1884"/>
                <a:gd name="T4" fmla="*/ 2766 w 2766"/>
                <a:gd name="T5" fmla="*/ 1792 h 1884"/>
                <a:gd name="T6" fmla="*/ 2720 w 2766"/>
                <a:gd name="T7" fmla="*/ 1730 h 1884"/>
                <a:gd name="T8" fmla="*/ 2574 w 2766"/>
                <a:gd name="T9" fmla="*/ 1846 h 1884"/>
                <a:gd name="T10" fmla="*/ 2490 w 2766"/>
                <a:gd name="T11" fmla="*/ 1738 h 1884"/>
                <a:gd name="T12" fmla="*/ 2360 w 2766"/>
                <a:gd name="T13" fmla="*/ 1884 h 1884"/>
                <a:gd name="T14" fmla="*/ 2160 w 2766"/>
                <a:gd name="T15" fmla="*/ 1760 h 1884"/>
                <a:gd name="T16" fmla="*/ 2106 w 2766"/>
                <a:gd name="T17" fmla="*/ 1838 h 1884"/>
                <a:gd name="T18" fmla="*/ 1907 w 2766"/>
                <a:gd name="T19" fmla="*/ 1784 h 1884"/>
                <a:gd name="T20" fmla="*/ 1853 w 2766"/>
                <a:gd name="T21" fmla="*/ 1884 h 1884"/>
                <a:gd name="T22" fmla="*/ 1245 w 2766"/>
                <a:gd name="T23" fmla="*/ 1730 h 1884"/>
                <a:gd name="T24" fmla="*/ 1029 w 2766"/>
                <a:gd name="T25" fmla="*/ 1822 h 1884"/>
                <a:gd name="T26" fmla="*/ 845 w 2766"/>
                <a:gd name="T27" fmla="*/ 1738 h 1884"/>
                <a:gd name="T28" fmla="*/ 676 w 2766"/>
                <a:gd name="T29" fmla="*/ 1776 h 1884"/>
                <a:gd name="T30" fmla="*/ 538 w 2766"/>
                <a:gd name="T31" fmla="*/ 1722 h 1884"/>
                <a:gd name="T32" fmla="*/ 408 w 2766"/>
                <a:gd name="T33" fmla="*/ 1822 h 1884"/>
                <a:gd name="T34" fmla="*/ 192 w 2766"/>
                <a:gd name="T35" fmla="*/ 1668 h 1884"/>
                <a:gd name="T36" fmla="*/ 54 w 2766"/>
                <a:gd name="T37" fmla="*/ 1692 h 1884"/>
                <a:gd name="T38" fmla="*/ 0 w 2766"/>
                <a:gd name="T39" fmla="*/ 1331 h 1884"/>
                <a:gd name="T40" fmla="*/ 0 w 2766"/>
                <a:gd name="T41" fmla="*/ 1331 h 1884"/>
                <a:gd name="T42" fmla="*/ 6 w 2766"/>
                <a:gd name="T43" fmla="*/ 1305 h 1884"/>
                <a:gd name="T44" fmla="*/ 22 w 2766"/>
                <a:gd name="T45" fmla="*/ 1241 h 1884"/>
                <a:gd name="T46" fmla="*/ 32 w 2766"/>
                <a:gd name="T47" fmla="*/ 1203 h 1884"/>
                <a:gd name="T48" fmla="*/ 38 w 2766"/>
                <a:gd name="T49" fmla="*/ 1165 h 1884"/>
                <a:gd name="T50" fmla="*/ 44 w 2766"/>
                <a:gd name="T51" fmla="*/ 1129 h 1884"/>
                <a:gd name="T52" fmla="*/ 46 w 2766"/>
                <a:gd name="T53" fmla="*/ 1099 h 1884"/>
                <a:gd name="T54" fmla="*/ 46 w 2766"/>
                <a:gd name="T55" fmla="*/ 1099 h 1884"/>
                <a:gd name="T56" fmla="*/ 44 w 2766"/>
                <a:gd name="T57" fmla="*/ 1063 h 1884"/>
                <a:gd name="T58" fmla="*/ 40 w 2766"/>
                <a:gd name="T59" fmla="*/ 1011 h 1884"/>
                <a:gd name="T60" fmla="*/ 26 w 2766"/>
                <a:gd name="T61" fmla="*/ 881 h 1884"/>
                <a:gd name="T62" fmla="*/ 8 w 2766"/>
                <a:gd name="T63" fmla="*/ 715 h 1884"/>
                <a:gd name="T64" fmla="*/ 38 w 2766"/>
                <a:gd name="T65" fmla="*/ 477 h 1884"/>
                <a:gd name="T66" fmla="*/ 22 w 2766"/>
                <a:gd name="T67" fmla="*/ 248 h 1884"/>
                <a:gd name="T68" fmla="*/ 38 w 2766"/>
                <a:gd name="T69" fmla="*/ 0 h 18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766" h="1884">
                  <a:moveTo>
                    <a:pt x="38" y="0"/>
                  </a:moveTo>
                  <a:lnTo>
                    <a:pt x="2766" y="0"/>
                  </a:lnTo>
                  <a:lnTo>
                    <a:pt x="2766" y="1792"/>
                  </a:lnTo>
                  <a:lnTo>
                    <a:pt x="2720" y="1730"/>
                  </a:lnTo>
                  <a:lnTo>
                    <a:pt x="2574" y="1846"/>
                  </a:lnTo>
                  <a:lnTo>
                    <a:pt x="2490" y="1738"/>
                  </a:lnTo>
                  <a:lnTo>
                    <a:pt x="2360" y="1884"/>
                  </a:lnTo>
                  <a:lnTo>
                    <a:pt x="2160" y="1760"/>
                  </a:lnTo>
                  <a:lnTo>
                    <a:pt x="2106" y="1838"/>
                  </a:lnTo>
                  <a:lnTo>
                    <a:pt x="1907" y="1784"/>
                  </a:lnTo>
                  <a:lnTo>
                    <a:pt x="1853" y="1884"/>
                  </a:lnTo>
                  <a:lnTo>
                    <a:pt x="1245" y="1730"/>
                  </a:lnTo>
                  <a:lnTo>
                    <a:pt x="1029" y="1822"/>
                  </a:lnTo>
                  <a:lnTo>
                    <a:pt x="845" y="1738"/>
                  </a:lnTo>
                  <a:lnTo>
                    <a:pt x="676" y="1776"/>
                  </a:lnTo>
                  <a:lnTo>
                    <a:pt x="538" y="1722"/>
                  </a:lnTo>
                  <a:lnTo>
                    <a:pt x="408" y="1822"/>
                  </a:lnTo>
                  <a:lnTo>
                    <a:pt x="192" y="1668"/>
                  </a:lnTo>
                  <a:lnTo>
                    <a:pt x="54" y="1692"/>
                  </a:lnTo>
                  <a:lnTo>
                    <a:pt x="0" y="1331"/>
                  </a:lnTo>
                  <a:lnTo>
                    <a:pt x="0" y="1331"/>
                  </a:lnTo>
                  <a:lnTo>
                    <a:pt x="6" y="1305"/>
                  </a:lnTo>
                  <a:lnTo>
                    <a:pt x="22" y="1241"/>
                  </a:lnTo>
                  <a:lnTo>
                    <a:pt x="32" y="1203"/>
                  </a:lnTo>
                  <a:lnTo>
                    <a:pt x="38" y="1165"/>
                  </a:lnTo>
                  <a:lnTo>
                    <a:pt x="44" y="1129"/>
                  </a:lnTo>
                  <a:lnTo>
                    <a:pt x="46" y="1099"/>
                  </a:lnTo>
                  <a:lnTo>
                    <a:pt x="46" y="1099"/>
                  </a:lnTo>
                  <a:lnTo>
                    <a:pt x="44" y="1063"/>
                  </a:lnTo>
                  <a:lnTo>
                    <a:pt x="40" y="1011"/>
                  </a:lnTo>
                  <a:lnTo>
                    <a:pt x="26" y="881"/>
                  </a:lnTo>
                  <a:lnTo>
                    <a:pt x="8" y="715"/>
                  </a:lnTo>
                  <a:lnTo>
                    <a:pt x="38" y="477"/>
                  </a:lnTo>
                  <a:lnTo>
                    <a:pt x="22" y="248"/>
                  </a:lnTo>
                  <a:lnTo>
                    <a:pt x="38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6350">
              <a:solidFill>
                <a:srgbClr val="25553B"/>
              </a:solidFill>
              <a:prstDash val="solid"/>
              <a:round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/>
            <a:lstStyle/>
            <a:p>
              <a:endParaRPr lang="en-GB"/>
            </a:p>
          </p:txBody>
        </p:sp>
        <p:sp>
          <p:nvSpPr>
            <p:cNvPr id="156" name="Rectangle 58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4205168" y="4982977"/>
              <a:ext cx="366832" cy="4924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lvl1pPr defTabSz="787400">
                <a:buSzPct val="120000"/>
                <a:defRPr sz="1600">
                  <a:solidFill>
                    <a:schemeClr val="tx1"/>
                  </a:solidFill>
                  <a:latin typeface="Arial" charset="0"/>
                  <a:ea typeface="-윤고딕130" pitchFamily="18" charset="-127"/>
                </a:defRPr>
              </a:lvl1pPr>
              <a:lvl2pPr marL="133350" indent="-131763" defTabSz="787400">
                <a:buSzPct val="120000"/>
                <a:buChar char="•"/>
                <a:defRPr sz="1600">
                  <a:solidFill>
                    <a:schemeClr val="tx1"/>
                  </a:solidFill>
                  <a:latin typeface="Arial" charset="0"/>
                  <a:ea typeface="-윤고딕130" pitchFamily="18" charset="-127"/>
                </a:defRPr>
              </a:lvl2pPr>
              <a:lvl3pPr marL="301625" indent="-150813" defTabSz="787400">
                <a:buChar char="–"/>
                <a:defRPr sz="1600">
                  <a:solidFill>
                    <a:schemeClr val="tx1"/>
                  </a:solidFill>
                  <a:latin typeface="Arial" charset="0"/>
                  <a:ea typeface="-윤고딕130" pitchFamily="18" charset="-127"/>
                </a:defRPr>
              </a:lvl3pPr>
              <a:lvl4pPr marL="439738" indent="-136525" defTabSz="787400">
                <a:buSzPct val="89000"/>
                <a:buChar char="•"/>
                <a:defRPr sz="1600">
                  <a:solidFill>
                    <a:schemeClr val="tx1"/>
                  </a:solidFill>
                  <a:latin typeface="Arial" charset="0"/>
                  <a:ea typeface="-윤고딕130" pitchFamily="18" charset="-127"/>
                </a:defRPr>
              </a:lvl4pPr>
              <a:lvl5pPr marL="603250" indent="-142875" defTabSz="787400"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  <a:ea typeface="-윤고딕130" pitchFamily="18" charset="-127"/>
                </a:defRPr>
              </a:lvl5pPr>
              <a:lvl6pPr marL="1060450" indent="-142875" defTabSz="7874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  <a:ea typeface="-윤고딕130" pitchFamily="18" charset="-127"/>
                </a:defRPr>
              </a:lvl6pPr>
              <a:lvl7pPr marL="1517650" indent="-142875" defTabSz="7874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  <a:ea typeface="-윤고딕130" pitchFamily="18" charset="-127"/>
                </a:defRPr>
              </a:lvl7pPr>
              <a:lvl8pPr marL="1974850" indent="-142875" defTabSz="7874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  <a:ea typeface="-윤고딕130" pitchFamily="18" charset="-127"/>
                </a:defRPr>
              </a:lvl8pPr>
              <a:lvl9pPr marL="2432050" indent="-142875" defTabSz="78740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  <a:ea typeface="-윤고딕130" pitchFamily="18" charset="-127"/>
                </a:defRPr>
              </a:lvl9pPr>
            </a:lstStyle>
            <a:p>
              <a:r>
                <a:rPr lang="en-US" altLang="en-US" sz="3200" dirty="0">
                  <a:ln>
                    <a:solidFill>
                      <a:schemeClr val="tx1">
                        <a:lumMod val="50000"/>
                      </a:schemeClr>
                    </a:solidFill>
                  </a:ln>
                  <a:solidFill>
                    <a:srgbClr val="25553B"/>
                  </a:solidFill>
                  <a:latin typeface="Wingdings" pitchFamily="2" charset="2"/>
                </a:rPr>
                <a:t>ü</a:t>
              </a:r>
            </a:p>
          </p:txBody>
        </p:sp>
      </p:grpSp>
      <p:grpSp>
        <p:nvGrpSpPr>
          <p:cNvPr id="171" name="Group 170"/>
          <p:cNvGrpSpPr/>
          <p:nvPr/>
        </p:nvGrpSpPr>
        <p:grpSpPr>
          <a:xfrm>
            <a:off x="7164287" y="3789040"/>
            <a:ext cx="1547181" cy="864096"/>
            <a:chOff x="7236296" y="2852936"/>
            <a:chExt cx="1547181" cy="864096"/>
          </a:xfrm>
        </p:grpSpPr>
        <p:cxnSp>
          <p:nvCxnSpPr>
            <p:cNvPr id="161" name="Straight Arrow Connector 160"/>
            <p:cNvCxnSpPr/>
            <p:nvPr/>
          </p:nvCxnSpPr>
          <p:spPr>
            <a:xfrm>
              <a:off x="7236296" y="3645024"/>
              <a:ext cx="1152128" cy="0"/>
            </a:xfrm>
            <a:prstGeom prst="straightConnector1">
              <a:avLst/>
            </a:prstGeom>
            <a:ln w="15875">
              <a:solidFill>
                <a:schemeClr val="tx1">
                  <a:lumMod val="5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70" name="Group 169"/>
            <p:cNvGrpSpPr/>
            <p:nvPr/>
          </p:nvGrpSpPr>
          <p:grpSpPr>
            <a:xfrm>
              <a:off x="7236296" y="2852936"/>
              <a:ext cx="1547181" cy="864096"/>
              <a:chOff x="7236296" y="2840742"/>
              <a:chExt cx="1547181" cy="864096"/>
            </a:xfrm>
          </p:grpSpPr>
          <p:grpSp>
            <p:nvGrpSpPr>
              <p:cNvPr id="169" name="Group 168"/>
              <p:cNvGrpSpPr/>
              <p:nvPr/>
            </p:nvGrpSpPr>
            <p:grpSpPr>
              <a:xfrm>
                <a:off x="7236296" y="2840742"/>
                <a:ext cx="1547181" cy="864096"/>
                <a:chOff x="7236296" y="2840742"/>
                <a:chExt cx="1547181" cy="864096"/>
              </a:xfrm>
            </p:grpSpPr>
            <p:sp>
              <p:nvSpPr>
                <p:cNvPr id="13" name="TextBox 12"/>
                <p:cNvSpPr txBox="1"/>
                <p:nvPr/>
              </p:nvSpPr>
              <p:spPr>
                <a:xfrm>
                  <a:off x="7236296" y="2996952"/>
                  <a:ext cx="1547181" cy="707886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GB" sz="1200" b="1" dirty="0" smtClean="0">
                      <a:solidFill>
                        <a:schemeClr val="tx1">
                          <a:lumMod val="50000"/>
                        </a:schemeClr>
                      </a:solidFill>
                    </a:rPr>
                    <a:t>@</a:t>
                  </a:r>
                  <a:r>
                    <a:rPr lang="en-GB" sz="2400" b="1" dirty="0" smtClean="0">
                      <a:solidFill>
                        <a:schemeClr val="tx1">
                          <a:lumMod val="50000"/>
                        </a:schemeClr>
                      </a:solidFill>
                    </a:rPr>
                    <a:t>@</a:t>
                  </a:r>
                  <a:r>
                    <a:rPr lang="en-GB" sz="4000" b="1" dirty="0" smtClean="0">
                      <a:solidFill>
                        <a:schemeClr val="tx1">
                          <a:lumMod val="50000"/>
                        </a:schemeClr>
                      </a:solidFill>
                    </a:rPr>
                    <a:t>@</a:t>
                  </a:r>
                  <a:endParaRPr lang="en-GB" sz="1600" b="1" dirty="0">
                    <a:solidFill>
                      <a:schemeClr val="tx1">
                        <a:lumMod val="50000"/>
                      </a:schemeClr>
                    </a:solidFill>
                  </a:endParaRPr>
                </a:p>
              </p:txBody>
            </p:sp>
            <p:cxnSp>
              <p:nvCxnSpPr>
                <p:cNvPr id="163" name="Straight Arrow Connector 162"/>
                <p:cNvCxnSpPr/>
                <p:nvPr/>
              </p:nvCxnSpPr>
              <p:spPr>
                <a:xfrm flipV="1">
                  <a:off x="7242749" y="2840742"/>
                  <a:ext cx="2427" cy="800472"/>
                </a:xfrm>
                <a:prstGeom prst="straightConnector1">
                  <a:avLst/>
                </a:prstGeom>
                <a:ln w="15875">
                  <a:solidFill>
                    <a:schemeClr val="tx1">
                      <a:lumMod val="50000"/>
                    </a:schemeClr>
                  </a:solidFill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68" name="Freeform 167"/>
              <p:cNvSpPr/>
              <p:nvPr/>
            </p:nvSpPr>
            <p:spPr>
              <a:xfrm>
                <a:off x="7245176" y="2840742"/>
                <a:ext cx="1215256" cy="804282"/>
              </a:xfrm>
              <a:custGeom>
                <a:avLst/>
                <a:gdLst>
                  <a:gd name="connsiteX0" fmla="*/ 0 w 711200"/>
                  <a:gd name="connsiteY0" fmla="*/ 465667 h 474036"/>
                  <a:gd name="connsiteX1" fmla="*/ 245533 w 711200"/>
                  <a:gd name="connsiteY1" fmla="*/ 440267 h 474036"/>
                  <a:gd name="connsiteX2" fmla="*/ 474133 w 711200"/>
                  <a:gd name="connsiteY2" fmla="*/ 194733 h 474036"/>
                  <a:gd name="connsiteX3" fmla="*/ 711200 w 711200"/>
                  <a:gd name="connsiteY3" fmla="*/ 0 h 4740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11200" h="474036">
                    <a:moveTo>
                      <a:pt x="0" y="465667"/>
                    </a:moveTo>
                    <a:cubicBezTo>
                      <a:pt x="83255" y="475545"/>
                      <a:pt x="166511" y="485423"/>
                      <a:pt x="245533" y="440267"/>
                    </a:cubicBezTo>
                    <a:cubicBezTo>
                      <a:pt x="324555" y="395111"/>
                      <a:pt x="396522" y="268111"/>
                      <a:pt x="474133" y="194733"/>
                    </a:cubicBezTo>
                    <a:cubicBezTo>
                      <a:pt x="551744" y="121355"/>
                      <a:pt x="631472" y="60677"/>
                      <a:pt x="711200" y="0"/>
                    </a:cubicBezTo>
                  </a:path>
                </a:pathLst>
              </a:custGeom>
              <a:noFill/>
              <a:ln w="41275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>
                  <a:noFill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55198587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GLOBAL TREND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4634497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44624"/>
            <a:ext cx="8534400" cy="523875"/>
          </a:xfrm>
        </p:spPr>
        <p:txBody>
          <a:bodyPr/>
          <a:lstStyle/>
          <a:p>
            <a:r>
              <a:rPr lang="en-GB" sz="2400" dirty="0" smtClean="0"/>
              <a:t>MARKET values</a:t>
            </a:r>
            <a:endParaRPr lang="en-GB" sz="2400" dirty="0"/>
          </a:p>
        </p:txBody>
      </p:sp>
      <p:grpSp>
        <p:nvGrpSpPr>
          <p:cNvPr id="6" name="Group 5"/>
          <p:cNvGrpSpPr/>
          <p:nvPr/>
        </p:nvGrpSpPr>
        <p:grpSpPr>
          <a:xfrm>
            <a:off x="107504" y="908720"/>
            <a:ext cx="8784977" cy="1569660"/>
            <a:chOff x="-116904" y="2636912"/>
            <a:chExt cx="8136905" cy="1569660"/>
          </a:xfrm>
        </p:grpSpPr>
        <p:sp>
          <p:nvSpPr>
            <p:cNvPr id="4" name="Rectangle 3"/>
            <p:cNvSpPr/>
            <p:nvPr/>
          </p:nvSpPr>
          <p:spPr>
            <a:xfrm>
              <a:off x="-116904" y="2636912"/>
              <a:ext cx="3256533" cy="70788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GB" sz="4000" b="1" dirty="0" smtClean="0">
                  <a:solidFill>
                    <a:srgbClr val="FF0000"/>
                  </a:solidFill>
                </a:rPr>
                <a:t>$194 - $6,400 </a:t>
              </a:r>
              <a:endParaRPr lang="en-GB" sz="4000" b="1" dirty="0">
                <a:solidFill>
                  <a:srgbClr val="FF0000"/>
                </a:solidFill>
              </a:endParaRPr>
            </a:p>
          </p:txBody>
        </p:sp>
        <p:sp>
          <p:nvSpPr>
            <p:cNvPr id="5" name="TextBox 4"/>
            <p:cNvSpPr txBox="1"/>
            <p:nvPr/>
          </p:nvSpPr>
          <p:spPr>
            <a:xfrm>
              <a:off x="2884414" y="2636912"/>
              <a:ext cx="5135587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2400" dirty="0" smtClean="0"/>
                <a:t>Per bill cost of ‘red’ hornbill ivory in Indonesia, and the per kilo cost of hornbill ivory in Chinese markets – 5x higher than elephant ivory</a:t>
              </a:r>
              <a:endParaRPr lang="en-GB" sz="2400" dirty="0"/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755576" y="2444695"/>
            <a:ext cx="8136903" cy="1200329"/>
            <a:chOff x="287587" y="3789040"/>
            <a:chExt cx="7884812" cy="1200329"/>
          </a:xfrm>
        </p:grpSpPr>
        <p:sp>
          <p:nvSpPr>
            <p:cNvPr id="8" name="Rectangle 7"/>
            <p:cNvSpPr/>
            <p:nvPr/>
          </p:nvSpPr>
          <p:spPr>
            <a:xfrm>
              <a:off x="287587" y="3789040"/>
              <a:ext cx="2052165" cy="70788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GB" sz="4000" b="1" dirty="0" smtClean="0">
                  <a:solidFill>
                    <a:srgbClr val="FF0000"/>
                  </a:solidFill>
                </a:rPr>
                <a:t>$16,000 </a:t>
              </a:r>
              <a:endParaRPr lang="en-GB" sz="4000" b="1" dirty="0">
                <a:solidFill>
                  <a:srgbClr val="FF0000"/>
                </a:solidFill>
              </a:endParaRP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2799563" y="3789040"/>
              <a:ext cx="5372836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2400" dirty="0" smtClean="0"/>
                <a:t>Value of an Indonesian </a:t>
              </a:r>
              <a:r>
                <a:rPr lang="en-US" sz="2400" dirty="0" smtClean="0"/>
                <a:t>Palm </a:t>
              </a:r>
              <a:r>
                <a:rPr lang="en-US" sz="2400" dirty="0"/>
                <a:t>cockatoo </a:t>
              </a:r>
              <a:endParaRPr lang="en-GB" sz="2400" dirty="0"/>
            </a:p>
            <a:p>
              <a:r>
                <a:rPr lang="en-US" sz="2400" i="1" dirty="0" smtClean="0"/>
                <a:t>(</a:t>
              </a:r>
              <a:r>
                <a:rPr lang="en-US" sz="2400" i="1" dirty="0" err="1" smtClean="0"/>
                <a:t>Probosciger</a:t>
              </a:r>
              <a:r>
                <a:rPr lang="en-US" sz="2400" i="1" dirty="0" smtClean="0"/>
                <a:t> </a:t>
              </a:r>
              <a:r>
                <a:rPr lang="en-US" sz="2400" i="1" dirty="0" err="1" smtClean="0"/>
                <a:t>aterrimus</a:t>
              </a:r>
              <a:r>
                <a:rPr lang="en-US" sz="2400" i="1" dirty="0" smtClean="0"/>
                <a:t>) </a:t>
              </a:r>
              <a:r>
                <a:rPr lang="en-US" sz="2400" dirty="0" smtClean="0"/>
                <a:t>on the international market.</a:t>
              </a:r>
              <a:endParaRPr lang="en-GB" sz="2400" dirty="0"/>
            </a:p>
          </p:txBody>
        </p:sp>
      </p:grpSp>
      <p:sp>
        <p:nvSpPr>
          <p:cNvPr id="10" name="Rectangle 9"/>
          <p:cNvSpPr/>
          <p:nvPr/>
        </p:nvSpPr>
        <p:spPr>
          <a:xfrm>
            <a:off x="251520" y="3585210"/>
            <a:ext cx="2746778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4000" b="1" dirty="0" smtClean="0">
                <a:solidFill>
                  <a:srgbClr val="FF0000"/>
                </a:solidFill>
              </a:rPr>
              <a:t>$6,000,000 </a:t>
            </a:r>
            <a:endParaRPr lang="en-GB" sz="4000" b="1" dirty="0">
              <a:solidFill>
                <a:srgbClr val="FF0000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347864" y="3596823"/>
            <a:ext cx="554461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 smtClean="0"/>
              <a:t>Value of shark fins extracted from West Nusa Tenggara in 2012 on the international market (434t).</a:t>
            </a:r>
            <a:endParaRPr lang="en-GB" sz="2400" dirty="0"/>
          </a:p>
        </p:txBody>
      </p:sp>
      <p:sp>
        <p:nvSpPr>
          <p:cNvPr id="12" name="Rectangle 11"/>
          <p:cNvSpPr/>
          <p:nvPr/>
        </p:nvSpPr>
        <p:spPr>
          <a:xfrm>
            <a:off x="107504" y="5025370"/>
            <a:ext cx="3265574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4000" b="1" dirty="0" smtClean="0">
                <a:solidFill>
                  <a:srgbClr val="FF0000"/>
                </a:solidFill>
              </a:rPr>
              <a:t>$50 – $45,000 </a:t>
            </a:r>
            <a:endParaRPr lang="en-GB" sz="4000" b="1" dirty="0">
              <a:solidFill>
                <a:srgbClr val="FF0000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347864" y="4883676"/>
            <a:ext cx="5544615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 smtClean="0"/>
              <a:t>Value of an </a:t>
            </a:r>
            <a:r>
              <a:rPr lang="en-GB" sz="2400" dirty="0" err="1" smtClean="0"/>
              <a:t>orangutan</a:t>
            </a:r>
            <a:r>
              <a:rPr lang="en-GB" sz="2400" dirty="0" smtClean="0"/>
              <a:t> in Indonesia, and its international market price. WCS WCU has investigated 85 cases involving 545 live primates since 2003..</a:t>
            </a:r>
            <a:endParaRPr lang="en-GB" sz="2400" dirty="0"/>
          </a:p>
        </p:txBody>
      </p:sp>
    </p:spTree>
    <p:extLst>
      <p:ext uri="{BB962C8B-B14F-4D97-AF65-F5344CB8AC3E}">
        <p14:creationId xmlns:p14="http://schemas.microsoft.com/office/powerpoint/2010/main" val="139724376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/>
      <p:bldP spid="12" grpId="0"/>
      <p:bldP spid="13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16632"/>
            <a:ext cx="8534400" cy="523875"/>
          </a:xfrm>
        </p:spPr>
        <p:txBody>
          <a:bodyPr/>
          <a:lstStyle/>
          <a:p>
            <a:r>
              <a:rPr lang="en-GB" dirty="0" smtClean="0"/>
              <a:t>Extraction areas 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4450" indent="0">
              <a:buNone/>
            </a:pPr>
            <a:r>
              <a:rPr lang="en-GB" dirty="0" smtClean="0"/>
              <a:t>Extremely high extraction rates indicated from almost all areas in Indonesia: (see red provinces below:</a:t>
            </a:r>
          </a:p>
          <a:p>
            <a:pPr marL="44450" indent="0">
              <a:buNone/>
            </a:pPr>
            <a:r>
              <a:rPr lang="en-GB" dirty="0"/>
              <a:t/>
            </a:r>
            <a:br>
              <a:rPr lang="en-GB" dirty="0"/>
            </a:br>
            <a:endParaRPr lang="en-GB" dirty="0" smtClean="0"/>
          </a:p>
          <a:p>
            <a:pPr marL="44450" indent="0">
              <a:buNone/>
            </a:pPr>
            <a:endParaRPr lang="en-GB" dirty="0"/>
          </a:p>
        </p:txBody>
      </p:sp>
      <p:pic>
        <p:nvPicPr>
          <p:cNvPr id="2051" name="Picture 3" descr="C:\Users\Matt\Desktop\indonesia mapv2.gif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0" t="34165" r="1997" b="12986"/>
          <a:stretch/>
        </p:blipFill>
        <p:spPr bwMode="auto">
          <a:xfrm>
            <a:off x="323528" y="1772816"/>
            <a:ext cx="8441092" cy="35283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395536" y="5589240"/>
            <a:ext cx="763284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dirty="0" smtClean="0"/>
              <a:t>But, data is deficient on specific volumes and scale of the trade in all areas.</a:t>
            </a:r>
            <a:endParaRPr lang="en-GB" sz="2000" dirty="0"/>
          </a:p>
        </p:txBody>
      </p:sp>
    </p:spTree>
    <p:extLst>
      <p:ext uri="{BB962C8B-B14F-4D97-AF65-F5344CB8AC3E}">
        <p14:creationId xmlns:p14="http://schemas.microsoft.com/office/powerpoint/2010/main" val="2839517021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Trade route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0048" y="764704"/>
            <a:ext cx="8534400" cy="5486400"/>
          </a:xfrm>
        </p:spPr>
        <p:txBody>
          <a:bodyPr/>
          <a:lstStyle/>
          <a:p>
            <a:r>
              <a:rPr lang="en-GB" dirty="0" smtClean="0"/>
              <a:t>Trade routes within Indonesia are complex, involve multiple steps, and are very species specific.</a:t>
            </a:r>
          </a:p>
          <a:p>
            <a:r>
              <a:rPr lang="en-GB" dirty="0" smtClean="0"/>
              <a:t>Pangolin trade routes in Sumatra are shown below.</a:t>
            </a:r>
          </a:p>
          <a:p>
            <a:endParaRPr lang="en-GB" dirty="0" smtClean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608" y="1988840"/>
            <a:ext cx="7200800" cy="46180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56565274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Key challenges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5516284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5"/>
          <p:cNvGrpSpPr>
            <a:grpSpLocks/>
          </p:cNvGrpSpPr>
          <p:nvPr/>
        </p:nvGrpSpPr>
        <p:grpSpPr bwMode="auto">
          <a:xfrm>
            <a:off x="45390" y="1268760"/>
            <a:ext cx="6372200" cy="4806919"/>
            <a:chOff x="1202" y="963"/>
            <a:chExt cx="3138" cy="2343"/>
          </a:xfrm>
        </p:grpSpPr>
        <p:sp>
          <p:nvSpPr>
            <p:cNvPr id="5" name="Oval 6"/>
            <p:cNvSpPr>
              <a:spLocks noChangeArrowheads="1"/>
            </p:cNvSpPr>
            <p:nvPr/>
          </p:nvSpPr>
          <p:spPr bwMode="auto">
            <a:xfrm>
              <a:off x="1686" y="1167"/>
              <a:ext cx="2167" cy="2017"/>
            </a:xfrm>
            <a:prstGeom prst="ellips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en-US" altLang="en-US">
                <a:solidFill>
                  <a:schemeClr val="bg1"/>
                </a:solidFill>
              </a:endParaRPr>
            </a:p>
          </p:txBody>
        </p:sp>
        <p:grpSp>
          <p:nvGrpSpPr>
            <p:cNvPr id="6" name="Group 7"/>
            <p:cNvGrpSpPr>
              <a:grpSpLocks/>
            </p:cNvGrpSpPr>
            <p:nvPr/>
          </p:nvGrpSpPr>
          <p:grpSpPr bwMode="auto">
            <a:xfrm>
              <a:off x="2953" y="2729"/>
              <a:ext cx="978" cy="577"/>
              <a:chOff x="2400" y="1968"/>
              <a:chExt cx="960" cy="960"/>
            </a:xfrm>
          </p:grpSpPr>
          <p:sp>
            <p:nvSpPr>
              <p:cNvPr id="25" name="Oval 8"/>
              <p:cNvSpPr>
                <a:spLocks noChangeArrowheads="1"/>
              </p:cNvSpPr>
              <p:nvPr>
                <p:custDataLst>
                  <p:tags r:id="rId9"/>
                </p:custDataLst>
              </p:nvPr>
            </p:nvSpPr>
            <p:spPr bwMode="blackWhite">
              <a:xfrm>
                <a:off x="2400" y="1968"/>
                <a:ext cx="960" cy="960"/>
              </a:xfrm>
              <a:prstGeom prst="ellipse">
                <a:avLst/>
              </a:prstGeom>
              <a:solidFill>
                <a:schemeClr val="accent3">
                  <a:lumMod val="50000"/>
                </a:schemeClr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>
                <a:outerShdw dist="25400" dir="5400000" algn="ctr" rotWithShape="0">
                  <a:schemeClr val="bg2"/>
                </a:outerShdw>
              </a:effectLst>
            </p:spPr>
            <p:txBody>
              <a:bodyPr wrap="none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26" name="Rectangle 9"/>
              <p:cNvSpPr>
                <a:spLocks noChangeArrowheads="1"/>
              </p:cNvSpPr>
              <p:nvPr>
                <p:custDataLst>
                  <p:tags r:id="rId10"/>
                </p:custDataLst>
              </p:nvPr>
            </p:nvSpPr>
            <p:spPr bwMode="blackWhite">
              <a:xfrm>
                <a:off x="2462" y="2008"/>
                <a:ext cx="880" cy="88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810" tIns="0" rIns="3810" bIns="0" anchor="ctr"/>
              <a:lstStyle>
                <a:lvl1pPr defTabSz="895350">
                  <a:buSzPct val="120000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1pPr>
                <a:lvl2pPr marL="144463" indent="-142875" defTabSz="895350">
                  <a:buSzPct val="120000"/>
                  <a:buChar char="•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2pPr>
                <a:lvl3pPr marL="295275" indent="-149225" defTabSz="895350"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3pPr>
                <a:lvl4pPr marL="431800" indent="-134938" defTabSz="895350">
                  <a:buSzPct val="89000"/>
                  <a:buChar char="•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4pPr>
                <a:lvl5pPr marL="582613" indent="-149225" defTabSz="895350"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5pPr>
                <a:lvl6pPr marL="1039813" indent="-149225" defTabSz="89535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6pPr>
                <a:lvl7pPr marL="1497013" indent="-149225" defTabSz="89535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7pPr>
                <a:lvl8pPr marL="1954213" indent="-149225" defTabSz="89535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8pPr>
                <a:lvl9pPr marL="2411413" indent="-149225" defTabSz="89535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9pPr>
              </a:lstStyle>
              <a:p>
                <a:pPr algn="ctr"/>
                <a:r>
                  <a:rPr lang="en-US" altLang="ko-KR" sz="1400" b="1" dirty="0" smtClean="0">
                    <a:solidFill>
                      <a:schemeClr val="bg1"/>
                    </a:solidFill>
                    <a:latin typeface="+mj-lt"/>
                    <a:ea typeface="Gulim" pitchFamily="34" charset="-127"/>
                  </a:rPr>
                  <a:t>Arrest and Detention</a:t>
                </a:r>
                <a:endParaRPr lang="en-US" altLang="ko-KR" sz="1400" b="1" dirty="0">
                  <a:solidFill>
                    <a:schemeClr val="bg1"/>
                  </a:solidFill>
                  <a:latin typeface="+mj-lt"/>
                  <a:ea typeface="Gulim" pitchFamily="34" charset="-127"/>
                </a:endParaRPr>
              </a:p>
            </p:txBody>
          </p:sp>
        </p:grpSp>
        <p:grpSp>
          <p:nvGrpSpPr>
            <p:cNvPr id="7" name="Group 10"/>
            <p:cNvGrpSpPr>
              <a:grpSpLocks/>
            </p:cNvGrpSpPr>
            <p:nvPr/>
          </p:nvGrpSpPr>
          <p:grpSpPr bwMode="auto">
            <a:xfrm>
              <a:off x="1607" y="2729"/>
              <a:ext cx="978" cy="577"/>
              <a:chOff x="2400" y="1968"/>
              <a:chExt cx="960" cy="960"/>
            </a:xfrm>
          </p:grpSpPr>
          <p:sp>
            <p:nvSpPr>
              <p:cNvPr id="23" name="Oval 11"/>
              <p:cNvSpPr>
                <a:spLocks noChangeArrowheads="1"/>
              </p:cNvSpPr>
              <p:nvPr>
                <p:custDataLst>
                  <p:tags r:id="rId7"/>
                </p:custDataLst>
              </p:nvPr>
            </p:nvSpPr>
            <p:spPr bwMode="blackWhite">
              <a:xfrm>
                <a:off x="2400" y="1968"/>
                <a:ext cx="960" cy="960"/>
              </a:xfrm>
              <a:prstGeom prst="ellipse">
                <a:avLst/>
              </a:prstGeom>
              <a:solidFill>
                <a:schemeClr val="accent3">
                  <a:lumMod val="50000"/>
                </a:schemeClr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>
                <a:outerShdw dist="25400" dir="5400000" algn="ctr" rotWithShape="0">
                  <a:schemeClr val="bg2"/>
                </a:outerShdw>
              </a:effectLst>
            </p:spPr>
            <p:txBody>
              <a:bodyPr wrap="none" anchor="ctr"/>
              <a:lstStyle/>
              <a:p>
                <a:endParaRPr lang="en-GB" sz="140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24" name="Rectangle 12"/>
              <p:cNvSpPr>
                <a:spLocks noChangeArrowheads="1"/>
              </p:cNvSpPr>
              <p:nvPr>
                <p:custDataLst>
                  <p:tags r:id="rId8"/>
                </p:custDataLst>
              </p:nvPr>
            </p:nvSpPr>
            <p:spPr bwMode="blackWhite">
              <a:xfrm>
                <a:off x="2448" y="2048"/>
                <a:ext cx="880" cy="88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810" tIns="0" rIns="3810" bIns="0" anchor="ctr"/>
              <a:lstStyle>
                <a:lvl1pPr defTabSz="895350">
                  <a:buSzPct val="120000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1pPr>
                <a:lvl2pPr marL="144463" indent="-142875" defTabSz="895350">
                  <a:buSzPct val="120000"/>
                  <a:buChar char="•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2pPr>
                <a:lvl3pPr marL="295275" indent="-149225" defTabSz="895350"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3pPr>
                <a:lvl4pPr marL="431800" indent="-134938" defTabSz="895350">
                  <a:buSzPct val="89000"/>
                  <a:buChar char="•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4pPr>
                <a:lvl5pPr marL="582613" indent="-149225" defTabSz="895350"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5pPr>
                <a:lvl6pPr marL="1039813" indent="-149225" defTabSz="89535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6pPr>
                <a:lvl7pPr marL="1497013" indent="-149225" defTabSz="89535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7pPr>
                <a:lvl8pPr marL="1954213" indent="-149225" defTabSz="89535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8pPr>
                <a:lvl9pPr marL="2411413" indent="-149225" defTabSz="89535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9pPr>
              </a:lstStyle>
              <a:p>
                <a:pPr algn="ctr"/>
                <a:r>
                  <a:rPr lang="en-US" altLang="ko-KR" sz="1400" b="1" dirty="0" smtClean="0">
                    <a:solidFill>
                      <a:schemeClr val="bg1"/>
                    </a:solidFill>
                    <a:latin typeface="+mj-lt"/>
                    <a:ea typeface="Gulim" pitchFamily="34" charset="-127"/>
                  </a:rPr>
                  <a:t>Registration and prosecution</a:t>
                </a:r>
                <a:endParaRPr lang="en-US" altLang="ko-KR" sz="1400" b="1" dirty="0">
                  <a:solidFill>
                    <a:schemeClr val="bg1"/>
                  </a:solidFill>
                  <a:latin typeface="+mj-lt"/>
                  <a:ea typeface="Gulim" pitchFamily="34" charset="-127"/>
                </a:endParaRPr>
              </a:p>
            </p:txBody>
          </p:sp>
        </p:grpSp>
        <p:grpSp>
          <p:nvGrpSpPr>
            <p:cNvPr id="8" name="Group 13"/>
            <p:cNvGrpSpPr>
              <a:grpSpLocks/>
            </p:cNvGrpSpPr>
            <p:nvPr/>
          </p:nvGrpSpPr>
          <p:grpSpPr bwMode="auto">
            <a:xfrm>
              <a:off x="3362" y="1725"/>
              <a:ext cx="978" cy="577"/>
              <a:chOff x="2400" y="1968"/>
              <a:chExt cx="960" cy="960"/>
            </a:xfrm>
          </p:grpSpPr>
          <p:sp>
            <p:nvSpPr>
              <p:cNvPr id="21" name="Oval 14"/>
              <p:cNvSpPr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blackWhite">
              <a:xfrm>
                <a:off x="2400" y="1968"/>
                <a:ext cx="960" cy="960"/>
              </a:xfrm>
              <a:prstGeom prst="ellipse">
                <a:avLst/>
              </a:prstGeom>
              <a:solidFill>
                <a:schemeClr val="accent3">
                  <a:lumMod val="50000"/>
                </a:schemeClr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>
                <a:outerShdw dist="25400" dir="5400000" algn="ctr" rotWithShape="0">
                  <a:schemeClr val="bg2"/>
                </a:outerShdw>
              </a:effectLst>
            </p:spPr>
            <p:txBody>
              <a:bodyPr wrap="none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22" name="Rectangle 15"/>
              <p:cNvSpPr>
                <a:spLocks noChangeArrowheads="1"/>
              </p:cNvSpPr>
              <p:nvPr>
                <p:custDataLst>
                  <p:tags r:id="rId6"/>
                </p:custDataLst>
              </p:nvPr>
            </p:nvSpPr>
            <p:spPr bwMode="blackWhite">
              <a:xfrm>
                <a:off x="2440" y="2008"/>
                <a:ext cx="880" cy="88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810" tIns="0" rIns="3810" bIns="0" anchor="ctr"/>
              <a:lstStyle>
                <a:lvl1pPr defTabSz="895350">
                  <a:buSzPct val="120000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1pPr>
                <a:lvl2pPr marL="144463" indent="-142875" defTabSz="895350">
                  <a:buSzPct val="120000"/>
                  <a:buChar char="•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2pPr>
                <a:lvl3pPr marL="295275" indent="-149225" defTabSz="895350"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3pPr>
                <a:lvl4pPr marL="431800" indent="-134938" defTabSz="895350">
                  <a:buSzPct val="89000"/>
                  <a:buChar char="•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4pPr>
                <a:lvl5pPr marL="582613" indent="-149225" defTabSz="895350"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5pPr>
                <a:lvl6pPr marL="1039813" indent="-149225" defTabSz="89535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6pPr>
                <a:lvl7pPr marL="1497013" indent="-149225" defTabSz="89535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7pPr>
                <a:lvl8pPr marL="1954213" indent="-149225" defTabSz="89535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8pPr>
                <a:lvl9pPr marL="2411413" indent="-149225" defTabSz="89535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9pPr>
              </a:lstStyle>
              <a:p>
                <a:pPr algn="ctr"/>
                <a:r>
                  <a:rPr lang="en-US" altLang="ko-KR" sz="1400" b="1" dirty="0" smtClean="0">
                    <a:solidFill>
                      <a:schemeClr val="bg1"/>
                    </a:solidFill>
                    <a:latin typeface="+mj-lt"/>
                    <a:ea typeface="Gulim" pitchFamily="34" charset="-127"/>
                  </a:rPr>
                  <a:t>Detection and Reporting</a:t>
                </a:r>
                <a:endParaRPr lang="en-US" altLang="ko-KR" sz="1400" b="1" dirty="0">
                  <a:solidFill>
                    <a:schemeClr val="bg1"/>
                  </a:solidFill>
                  <a:latin typeface="+mj-lt"/>
                  <a:ea typeface="Gulim" pitchFamily="34" charset="-127"/>
                </a:endParaRPr>
              </a:p>
            </p:txBody>
          </p:sp>
        </p:grpSp>
        <p:grpSp>
          <p:nvGrpSpPr>
            <p:cNvPr id="9" name="Group 16"/>
            <p:cNvGrpSpPr>
              <a:grpSpLocks/>
            </p:cNvGrpSpPr>
            <p:nvPr/>
          </p:nvGrpSpPr>
          <p:grpSpPr bwMode="auto">
            <a:xfrm>
              <a:off x="1202" y="1728"/>
              <a:ext cx="978" cy="577"/>
              <a:chOff x="2400" y="1968"/>
              <a:chExt cx="960" cy="960"/>
            </a:xfrm>
          </p:grpSpPr>
          <p:sp>
            <p:nvSpPr>
              <p:cNvPr id="19" name="Oval 17"/>
              <p:cNvSpPr>
                <a:spLocks noChangeArrowheads="1"/>
              </p:cNvSpPr>
              <p:nvPr>
                <p:custDataLst>
                  <p:tags r:id="rId3"/>
                </p:custDataLst>
              </p:nvPr>
            </p:nvSpPr>
            <p:spPr bwMode="blackWhite">
              <a:xfrm>
                <a:off x="2400" y="1968"/>
                <a:ext cx="960" cy="960"/>
              </a:xfrm>
              <a:prstGeom prst="ellipse">
                <a:avLst/>
              </a:prstGeom>
              <a:solidFill>
                <a:schemeClr val="accent3">
                  <a:lumMod val="50000"/>
                </a:schemeClr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>
                <a:outerShdw dist="25400" dir="5400000" algn="ctr" rotWithShape="0">
                  <a:schemeClr val="bg2"/>
                </a:outerShdw>
              </a:effectLst>
            </p:spPr>
            <p:txBody>
              <a:bodyPr wrap="none" anchor="ctr"/>
              <a:lstStyle/>
              <a:p>
                <a:endParaRPr lang="en-GB" sz="140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20" name="Rectangle 18"/>
              <p:cNvSpPr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blackWhite">
              <a:xfrm>
                <a:off x="2440" y="2008"/>
                <a:ext cx="880" cy="88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810" tIns="0" rIns="3810" bIns="0" anchor="ctr"/>
              <a:lstStyle>
                <a:lvl1pPr defTabSz="895350">
                  <a:buSzPct val="120000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1pPr>
                <a:lvl2pPr marL="144463" indent="-142875" defTabSz="895350">
                  <a:buSzPct val="120000"/>
                  <a:buChar char="•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2pPr>
                <a:lvl3pPr marL="295275" indent="-149225" defTabSz="895350"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3pPr>
                <a:lvl4pPr marL="431800" indent="-134938" defTabSz="895350">
                  <a:buSzPct val="89000"/>
                  <a:buChar char="•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4pPr>
                <a:lvl5pPr marL="582613" indent="-149225" defTabSz="895350"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5pPr>
                <a:lvl6pPr marL="1039813" indent="-149225" defTabSz="89535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6pPr>
                <a:lvl7pPr marL="1497013" indent="-149225" defTabSz="89535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7pPr>
                <a:lvl8pPr marL="1954213" indent="-149225" defTabSz="89535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8pPr>
                <a:lvl9pPr marL="2411413" indent="-149225" defTabSz="89535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9pPr>
              </a:lstStyle>
              <a:p>
                <a:pPr algn="ctr"/>
                <a:r>
                  <a:rPr lang="en-US" altLang="ko-KR" sz="1400" b="1" dirty="0" smtClean="0">
                    <a:solidFill>
                      <a:schemeClr val="bg1"/>
                    </a:solidFill>
                    <a:latin typeface="+mj-lt"/>
                    <a:ea typeface="Gulim" pitchFamily="34" charset="-127"/>
                  </a:rPr>
                  <a:t>Implementation and enforcement</a:t>
                </a:r>
                <a:endParaRPr lang="en-US" altLang="ko-KR" sz="1400" b="1" dirty="0">
                  <a:solidFill>
                    <a:schemeClr val="bg1"/>
                  </a:solidFill>
                  <a:latin typeface="+mj-lt"/>
                  <a:ea typeface="Gulim" pitchFamily="34" charset="-127"/>
                </a:endParaRPr>
              </a:p>
            </p:txBody>
          </p:sp>
        </p:grpSp>
        <p:grpSp>
          <p:nvGrpSpPr>
            <p:cNvPr id="10" name="Group 19"/>
            <p:cNvGrpSpPr>
              <a:grpSpLocks/>
            </p:cNvGrpSpPr>
            <p:nvPr/>
          </p:nvGrpSpPr>
          <p:grpSpPr bwMode="auto">
            <a:xfrm>
              <a:off x="2258" y="963"/>
              <a:ext cx="978" cy="577"/>
              <a:chOff x="2400" y="1968"/>
              <a:chExt cx="960" cy="960"/>
            </a:xfrm>
          </p:grpSpPr>
          <p:sp>
            <p:nvSpPr>
              <p:cNvPr id="17" name="Oval 20"/>
              <p:cNvSpPr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blackWhite">
              <a:xfrm>
                <a:off x="2400" y="1968"/>
                <a:ext cx="960" cy="960"/>
              </a:xfrm>
              <a:prstGeom prst="ellipse">
                <a:avLst/>
              </a:prstGeom>
              <a:solidFill>
                <a:schemeClr val="accent3">
                  <a:lumMod val="50000"/>
                </a:schemeClr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>
                <a:outerShdw dist="25400" dir="5400000" algn="ctr" rotWithShape="0">
                  <a:schemeClr val="bg2"/>
                </a:outerShdw>
              </a:effectLst>
            </p:spPr>
            <p:txBody>
              <a:bodyPr wrap="none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18" name="Rectangle 21"/>
              <p:cNvSpPr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blackWhite">
              <a:xfrm>
                <a:off x="2440" y="2008"/>
                <a:ext cx="880" cy="88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810" tIns="0" rIns="3810" bIns="0" anchor="ctr"/>
              <a:lstStyle>
                <a:lvl1pPr defTabSz="895350">
                  <a:buSzPct val="120000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1pPr>
                <a:lvl2pPr marL="144463" indent="-142875" defTabSz="895350">
                  <a:buSzPct val="120000"/>
                  <a:buChar char="•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2pPr>
                <a:lvl3pPr marL="295275" indent="-149225" defTabSz="895350"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3pPr>
                <a:lvl4pPr marL="431800" indent="-134938" defTabSz="895350">
                  <a:buSzPct val="89000"/>
                  <a:buChar char="•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4pPr>
                <a:lvl5pPr marL="582613" indent="-149225" defTabSz="895350"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5pPr>
                <a:lvl6pPr marL="1039813" indent="-149225" defTabSz="89535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6pPr>
                <a:lvl7pPr marL="1497013" indent="-149225" defTabSz="89535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7pPr>
                <a:lvl8pPr marL="1954213" indent="-149225" defTabSz="89535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8pPr>
                <a:lvl9pPr marL="2411413" indent="-149225" defTabSz="89535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9pPr>
              </a:lstStyle>
              <a:p>
                <a:pPr algn="ctr"/>
                <a:r>
                  <a:rPr lang="en-US" altLang="ko-KR" sz="1400" b="1" dirty="0" smtClean="0">
                    <a:solidFill>
                      <a:schemeClr val="bg1"/>
                    </a:solidFill>
                    <a:latin typeface="+mj-lt"/>
                    <a:ea typeface="Gulim" pitchFamily="34" charset="-127"/>
                  </a:rPr>
                  <a:t>Legal Scope</a:t>
                </a:r>
                <a:endParaRPr lang="en-US" altLang="ko-KR" sz="1400" b="1" dirty="0">
                  <a:solidFill>
                    <a:schemeClr val="bg1"/>
                  </a:solidFill>
                  <a:latin typeface="+mj-lt"/>
                  <a:ea typeface="Gulim" pitchFamily="34" charset="-127"/>
                </a:endParaRPr>
              </a:p>
            </p:txBody>
          </p:sp>
        </p:grpSp>
        <p:sp>
          <p:nvSpPr>
            <p:cNvPr id="12" name="Rectangle 23"/>
            <p:cNvSpPr>
              <a:spLocks noChangeArrowheads="1"/>
            </p:cNvSpPr>
            <p:nvPr/>
          </p:nvSpPr>
          <p:spPr bwMode="auto">
            <a:xfrm flipH="1">
              <a:off x="2371" y="1850"/>
              <a:ext cx="865" cy="9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defTabSz="895350">
                <a:buSzPct val="120000"/>
                <a:defRPr sz="1600">
                  <a:solidFill>
                    <a:schemeClr val="tx1"/>
                  </a:solidFill>
                  <a:latin typeface="Arial" charset="0"/>
                  <a:ea typeface="-윤고딕130" pitchFamily="18" charset="-127"/>
                </a:defRPr>
              </a:lvl1pPr>
              <a:lvl2pPr marL="144463" indent="-142875" defTabSz="895350">
                <a:buSzPct val="120000"/>
                <a:buChar char="•"/>
                <a:defRPr sz="1600">
                  <a:solidFill>
                    <a:schemeClr val="tx1"/>
                  </a:solidFill>
                  <a:latin typeface="Arial" charset="0"/>
                  <a:ea typeface="-윤고딕130" pitchFamily="18" charset="-127"/>
                </a:defRPr>
              </a:lvl2pPr>
              <a:lvl3pPr marL="295275" indent="-149225" defTabSz="895350">
                <a:buChar char="–"/>
                <a:defRPr sz="1600">
                  <a:solidFill>
                    <a:schemeClr val="tx1"/>
                  </a:solidFill>
                  <a:latin typeface="Arial" charset="0"/>
                  <a:ea typeface="-윤고딕130" pitchFamily="18" charset="-127"/>
                </a:defRPr>
              </a:lvl3pPr>
              <a:lvl4pPr marL="431800" indent="-134938" defTabSz="895350">
                <a:buSzPct val="89000"/>
                <a:buChar char="•"/>
                <a:defRPr sz="1600">
                  <a:solidFill>
                    <a:schemeClr val="tx1"/>
                  </a:solidFill>
                  <a:latin typeface="Arial" charset="0"/>
                  <a:ea typeface="-윤고딕130" pitchFamily="18" charset="-127"/>
                </a:defRPr>
              </a:lvl4pPr>
              <a:lvl5pPr marL="582613" indent="-149225" defTabSz="895350"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  <a:ea typeface="-윤고딕130" pitchFamily="18" charset="-127"/>
                </a:defRPr>
              </a:lvl5pPr>
              <a:lvl6pPr marL="10398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  <a:ea typeface="-윤고딕130" pitchFamily="18" charset="-127"/>
                </a:defRPr>
              </a:lvl6pPr>
              <a:lvl7pPr marL="14970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  <a:ea typeface="-윤고딕130" pitchFamily="18" charset="-127"/>
                </a:defRPr>
              </a:lvl7pPr>
              <a:lvl8pPr marL="19542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  <a:ea typeface="-윤고딕130" pitchFamily="18" charset="-127"/>
                </a:defRPr>
              </a:lvl8pPr>
              <a:lvl9pPr marL="24114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  <a:ea typeface="-윤고딕130" pitchFamily="18" charset="-127"/>
                </a:defRPr>
              </a:lvl9pPr>
            </a:lstStyle>
            <a:p>
              <a:pPr algn="ctr"/>
              <a:r>
                <a:rPr lang="en-US" altLang="ko-KR" sz="2400" b="1" dirty="0" smtClean="0">
                  <a:solidFill>
                    <a:schemeClr val="tx2">
                      <a:lumMod val="50000"/>
                    </a:schemeClr>
                  </a:solidFill>
                  <a:latin typeface="+mj-lt"/>
                  <a:ea typeface="Gulim" pitchFamily="34" charset="-127"/>
                </a:rPr>
                <a:t>5 challenge clusters identified</a:t>
              </a:r>
              <a:endParaRPr lang="en-US" altLang="ko-KR" sz="2400" b="1" dirty="0">
                <a:solidFill>
                  <a:schemeClr val="tx2">
                    <a:lumMod val="50000"/>
                  </a:schemeClr>
                </a:solidFill>
                <a:latin typeface="+mj-lt"/>
                <a:ea typeface="Gulim" pitchFamily="34" charset="-127"/>
              </a:endParaRPr>
            </a:p>
          </p:txBody>
        </p:sp>
      </p:grpSp>
      <p:pic>
        <p:nvPicPr>
          <p:cNvPr id="29" name="Picture 2" descr="D:\WCU_Medan\Foto Barbuk\2012-08-14_Cilandak_ok\BB sitaan_Kulit Harimau - Kulit Tutul.jp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224" y="1268760"/>
            <a:ext cx="2459094" cy="162173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" name="Picture 2"/>
          <p:cNvPicPr>
            <a:picLocks noChangeAspect="1" noChangeArrowheads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63" r="3714" b="5572"/>
          <a:stretch/>
        </p:blipFill>
        <p:spPr bwMode="auto">
          <a:xfrm>
            <a:off x="6590170" y="5002480"/>
            <a:ext cx="2459094" cy="123256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" name="Picture 2"/>
          <p:cNvPicPr>
            <a:picLocks noChangeAspect="1" noChangeArrowheads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42" r="3120"/>
          <a:stretch/>
        </p:blipFill>
        <p:spPr bwMode="auto">
          <a:xfrm>
            <a:off x="6592116" y="3068960"/>
            <a:ext cx="2455202" cy="180610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9542829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/>
        </p:nvGrpSpPr>
        <p:grpSpPr>
          <a:xfrm>
            <a:off x="59665" y="782574"/>
            <a:ext cx="1552575" cy="915988"/>
            <a:chOff x="1331640" y="2060848"/>
            <a:chExt cx="1552575" cy="915988"/>
          </a:xfrm>
          <a:solidFill>
            <a:schemeClr val="accent3">
              <a:lumMod val="50000"/>
            </a:schemeClr>
          </a:solidFill>
        </p:grpSpPr>
        <p:sp>
          <p:nvSpPr>
            <p:cNvPr id="7" name="Oval 20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blackWhite">
            <a:xfrm>
              <a:off x="1331640" y="2060848"/>
              <a:ext cx="1552575" cy="915988"/>
            </a:xfrm>
            <a:prstGeom prst="ellips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  <a:effectLst>
              <a:outerShdw dist="25400" dir="5400000" algn="ctr" rotWithShape="0">
                <a:schemeClr val="bg2"/>
              </a:outerShdw>
            </a:effectLst>
          </p:spPr>
          <p:txBody>
            <a:bodyPr wrap="none" anchor="ctr"/>
            <a:lstStyle/>
            <a:p>
              <a:endParaRPr lang="en-GB" b="1">
                <a:solidFill>
                  <a:schemeClr val="bg1"/>
                </a:solidFill>
              </a:endParaRPr>
            </a:p>
          </p:txBody>
        </p:sp>
        <p:sp>
          <p:nvSpPr>
            <p:cNvPr id="8" name="Rectangle 21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blackWhite">
            <a:xfrm>
              <a:off x="1396331" y="2099014"/>
              <a:ext cx="1423194" cy="83965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810" tIns="0" rIns="3810" bIns="0" anchor="ctr"/>
            <a:lstStyle>
              <a:lvl1pPr defTabSz="895350">
                <a:buSzPct val="120000"/>
                <a:defRPr sz="1600">
                  <a:solidFill>
                    <a:schemeClr val="tx1"/>
                  </a:solidFill>
                  <a:latin typeface="Arial" charset="0"/>
                  <a:ea typeface="-윤고딕130" pitchFamily="18" charset="-127"/>
                </a:defRPr>
              </a:lvl1pPr>
              <a:lvl2pPr marL="144463" indent="-142875" defTabSz="895350">
                <a:buSzPct val="120000"/>
                <a:buChar char="•"/>
                <a:defRPr sz="1600">
                  <a:solidFill>
                    <a:schemeClr val="tx1"/>
                  </a:solidFill>
                  <a:latin typeface="Arial" charset="0"/>
                  <a:ea typeface="-윤고딕130" pitchFamily="18" charset="-127"/>
                </a:defRPr>
              </a:lvl2pPr>
              <a:lvl3pPr marL="295275" indent="-149225" defTabSz="895350">
                <a:buChar char="–"/>
                <a:defRPr sz="1600">
                  <a:solidFill>
                    <a:schemeClr val="tx1"/>
                  </a:solidFill>
                  <a:latin typeface="Arial" charset="0"/>
                  <a:ea typeface="-윤고딕130" pitchFamily="18" charset="-127"/>
                </a:defRPr>
              </a:lvl3pPr>
              <a:lvl4pPr marL="431800" indent="-134938" defTabSz="895350">
                <a:buSzPct val="89000"/>
                <a:buChar char="•"/>
                <a:defRPr sz="1600">
                  <a:solidFill>
                    <a:schemeClr val="tx1"/>
                  </a:solidFill>
                  <a:latin typeface="Arial" charset="0"/>
                  <a:ea typeface="-윤고딕130" pitchFamily="18" charset="-127"/>
                </a:defRPr>
              </a:lvl4pPr>
              <a:lvl5pPr marL="582613" indent="-149225" defTabSz="895350"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  <a:ea typeface="-윤고딕130" pitchFamily="18" charset="-127"/>
                </a:defRPr>
              </a:lvl5pPr>
              <a:lvl6pPr marL="10398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  <a:ea typeface="-윤고딕130" pitchFamily="18" charset="-127"/>
                </a:defRPr>
              </a:lvl6pPr>
              <a:lvl7pPr marL="14970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  <a:ea typeface="-윤고딕130" pitchFamily="18" charset="-127"/>
                </a:defRPr>
              </a:lvl7pPr>
              <a:lvl8pPr marL="19542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  <a:ea typeface="-윤고딕130" pitchFamily="18" charset="-127"/>
                </a:defRPr>
              </a:lvl8pPr>
              <a:lvl9pPr marL="24114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  <a:ea typeface="-윤고딕130" pitchFamily="18" charset="-127"/>
                </a:defRPr>
              </a:lvl9pPr>
            </a:lstStyle>
            <a:p>
              <a:pPr algn="ctr"/>
              <a:r>
                <a:rPr lang="en-US" altLang="ko-KR" sz="1400" b="1" dirty="0" smtClean="0">
                  <a:solidFill>
                    <a:schemeClr val="bg1"/>
                  </a:solidFill>
                  <a:latin typeface="+mj-lt"/>
                  <a:ea typeface="Gulim" pitchFamily="34" charset="-127"/>
                </a:rPr>
                <a:t>Legal Scope</a:t>
              </a:r>
              <a:endParaRPr lang="en-US" altLang="ko-KR" sz="1400" b="1" dirty="0">
                <a:solidFill>
                  <a:schemeClr val="bg1"/>
                </a:solidFill>
                <a:latin typeface="+mj-lt"/>
                <a:ea typeface="Gulim" pitchFamily="34" charset="-127"/>
              </a:endParaRPr>
            </a:p>
          </p:txBody>
        </p:sp>
      </p:grpSp>
      <p:cxnSp>
        <p:nvCxnSpPr>
          <p:cNvPr id="11" name="Straight Arrow Connector 10"/>
          <p:cNvCxnSpPr>
            <a:endCxn id="13" idx="1"/>
          </p:cNvCxnSpPr>
          <p:nvPr/>
        </p:nvCxnSpPr>
        <p:spPr>
          <a:xfrm flipV="1">
            <a:off x="1940598" y="1648883"/>
            <a:ext cx="3351482" cy="242077"/>
          </a:xfrm>
          <a:prstGeom prst="straightConnector1">
            <a:avLst/>
          </a:prstGeom>
          <a:ln>
            <a:solidFill>
              <a:schemeClr val="accent3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ounded Rectangle 11"/>
          <p:cNvSpPr/>
          <p:nvPr/>
        </p:nvSpPr>
        <p:spPr>
          <a:xfrm>
            <a:off x="5076056" y="1110274"/>
            <a:ext cx="2088232" cy="108012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TextBox 12"/>
          <p:cNvSpPr txBox="1"/>
          <p:nvPr/>
        </p:nvSpPr>
        <p:spPr>
          <a:xfrm>
            <a:off x="5292080" y="1110274"/>
            <a:ext cx="3528392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 smtClean="0"/>
              <a:t>GR No. 7/1999 fails to protect CITES listed species, and other species that are of critical conservation concern in Indonesia.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292080" y="2204864"/>
            <a:ext cx="285221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 smtClean="0"/>
              <a:t>No provision</a:t>
            </a:r>
            <a:r>
              <a:rPr lang="id-ID" sz="1600" dirty="0" smtClean="0"/>
              <a:t>s</a:t>
            </a:r>
            <a:r>
              <a:rPr lang="en-GB" sz="1600" dirty="0" smtClean="0"/>
              <a:t> for non-native species protected under CITES (e.g. African ivory). 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5292080" y="3140968"/>
            <a:ext cx="3528392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 smtClean="0"/>
              <a:t>Limited legal protection of species outside protected areas – no connection of species protection to critical habitats.</a:t>
            </a:r>
          </a:p>
        </p:txBody>
      </p:sp>
      <p:grpSp>
        <p:nvGrpSpPr>
          <p:cNvPr id="36" name="Group 35"/>
          <p:cNvGrpSpPr/>
          <p:nvPr/>
        </p:nvGrpSpPr>
        <p:grpSpPr>
          <a:xfrm>
            <a:off x="739581" y="980728"/>
            <a:ext cx="1745318" cy="1336526"/>
            <a:chOff x="411223" y="1720924"/>
            <a:chExt cx="1745318" cy="1336526"/>
          </a:xfrm>
          <a:solidFill>
            <a:schemeClr val="accent3">
              <a:lumMod val="50000"/>
            </a:schemeClr>
          </a:solidFill>
        </p:grpSpPr>
        <p:grpSp>
          <p:nvGrpSpPr>
            <p:cNvPr id="20" name="Group 19"/>
            <p:cNvGrpSpPr/>
            <p:nvPr/>
          </p:nvGrpSpPr>
          <p:grpSpPr>
            <a:xfrm>
              <a:off x="1067938" y="1720924"/>
              <a:ext cx="1088603" cy="699964"/>
              <a:chOff x="1331640" y="2060848"/>
              <a:chExt cx="1552575" cy="915988"/>
            </a:xfrm>
            <a:grpFill/>
          </p:grpSpPr>
          <p:sp>
            <p:nvSpPr>
              <p:cNvPr id="21" name="Oval 20"/>
              <p:cNvSpPr>
                <a:spLocks noChangeArrowheads="1"/>
              </p:cNvSpPr>
              <p:nvPr>
                <p:custDataLst>
                  <p:tags r:id="rId3"/>
                </p:custDataLst>
              </p:nvPr>
            </p:nvSpPr>
            <p:spPr bwMode="blackWhite">
              <a:xfrm>
                <a:off x="1331640" y="2060848"/>
                <a:ext cx="1552575" cy="915988"/>
              </a:xfrm>
              <a:prstGeom prst="ellipse">
                <a:avLst/>
              </a:pr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  <a:effectLst>
                <a:outerShdw dist="25400" dir="5400000" algn="ctr" rotWithShape="0">
                  <a:schemeClr val="bg2"/>
                </a:outerShdw>
              </a:effectLst>
            </p:spPr>
            <p:txBody>
              <a:bodyPr wrap="none" anchor="ctr"/>
              <a:lstStyle/>
              <a:p>
                <a:endParaRPr lang="en-GB" sz="1200" b="1">
                  <a:solidFill>
                    <a:schemeClr val="bg1"/>
                  </a:solidFill>
                </a:endParaRPr>
              </a:p>
            </p:txBody>
          </p:sp>
          <p:sp>
            <p:nvSpPr>
              <p:cNvPr id="22" name="Rectangle 21"/>
              <p:cNvSpPr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blackWhite">
              <a:xfrm>
                <a:off x="1396331" y="2120488"/>
                <a:ext cx="1423194" cy="83965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810" tIns="0" rIns="3810" bIns="0" anchor="ctr"/>
              <a:lstStyle>
                <a:lvl1pPr defTabSz="895350">
                  <a:buSzPct val="120000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1pPr>
                <a:lvl2pPr marL="144463" indent="-142875" defTabSz="895350">
                  <a:buSzPct val="120000"/>
                  <a:buChar char="•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2pPr>
                <a:lvl3pPr marL="295275" indent="-149225" defTabSz="895350"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3pPr>
                <a:lvl4pPr marL="431800" indent="-134938" defTabSz="895350">
                  <a:buSzPct val="89000"/>
                  <a:buChar char="•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4pPr>
                <a:lvl5pPr marL="582613" indent="-149225" defTabSz="895350"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5pPr>
                <a:lvl6pPr marL="1039813" indent="-149225" defTabSz="89535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6pPr>
                <a:lvl7pPr marL="1497013" indent="-149225" defTabSz="89535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7pPr>
                <a:lvl8pPr marL="1954213" indent="-149225" defTabSz="89535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8pPr>
                <a:lvl9pPr marL="2411413" indent="-149225" defTabSz="89535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9pPr>
              </a:lstStyle>
              <a:p>
                <a:pPr algn="ctr"/>
                <a:r>
                  <a:rPr lang="en-US" altLang="ko-KR" sz="1050" b="1" dirty="0" smtClean="0">
                    <a:solidFill>
                      <a:schemeClr val="bg1"/>
                    </a:solidFill>
                    <a:latin typeface="+mj-lt"/>
                    <a:ea typeface="Gulim" pitchFamily="34" charset="-127"/>
                  </a:rPr>
                  <a:t>Revision of GR No.7/1999</a:t>
                </a:r>
                <a:endParaRPr lang="en-US" altLang="ko-KR" sz="1050" b="1" dirty="0">
                  <a:solidFill>
                    <a:schemeClr val="bg1"/>
                  </a:solidFill>
                  <a:latin typeface="+mj-lt"/>
                  <a:ea typeface="Gulim" pitchFamily="34" charset="-127"/>
                </a:endParaRPr>
              </a:p>
            </p:txBody>
          </p:sp>
        </p:grpSp>
        <p:grpSp>
          <p:nvGrpSpPr>
            <p:cNvPr id="23" name="Group 22"/>
            <p:cNvGrpSpPr/>
            <p:nvPr/>
          </p:nvGrpSpPr>
          <p:grpSpPr>
            <a:xfrm>
              <a:off x="411223" y="2204864"/>
              <a:ext cx="1201017" cy="852586"/>
              <a:chOff x="1331640" y="2060848"/>
              <a:chExt cx="1552575" cy="915988"/>
            </a:xfrm>
            <a:grpFill/>
          </p:grpSpPr>
          <p:sp>
            <p:nvSpPr>
              <p:cNvPr id="24" name="Oval 20"/>
              <p:cNvSpPr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blackWhite">
              <a:xfrm>
                <a:off x="1331640" y="2060848"/>
                <a:ext cx="1552575" cy="915988"/>
              </a:xfrm>
              <a:prstGeom prst="ellipse">
                <a:avLst/>
              </a:pr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  <a:effectLst>
                <a:outerShdw dist="25400" dir="5400000" algn="ctr" rotWithShape="0">
                  <a:schemeClr val="bg2"/>
                </a:outerShdw>
              </a:effectLst>
            </p:spPr>
            <p:txBody>
              <a:bodyPr wrap="none" anchor="ctr"/>
              <a:lstStyle/>
              <a:p>
                <a:endParaRPr lang="en-GB" sz="1200" b="1">
                  <a:solidFill>
                    <a:schemeClr val="bg1"/>
                  </a:solidFill>
                </a:endParaRPr>
              </a:p>
            </p:txBody>
          </p:sp>
          <p:sp>
            <p:nvSpPr>
              <p:cNvPr id="25" name="Rectangle 21"/>
              <p:cNvSpPr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blackWhite">
              <a:xfrm>
                <a:off x="1396331" y="2099014"/>
                <a:ext cx="1423194" cy="83965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810" tIns="0" rIns="3810" bIns="0" anchor="ctr"/>
              <a:lstStyle>
                <a:lvl1pPr defTabSz="895350">
                  <a:buSzPct val="120000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1pPr>
                <a:lvl2pPr marL="144463" indent="-142875" defTabSz="895350">
                  <a:buSzPct val="120000"/>
                  <a:buChar char="•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2pPr>
                <a:lvl3pPr marL="295275" indent="-149225" defTabSz="895350"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3pPr>
                <a:lvl4pPr marL="431800" indent="-134938" defTabSz="895350">
                  <a:buSzPct val="89000"/>
                  <a:buChar char="•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4pPr>
                <a:lvl5pPr marL="582613" indent="-149225" defTabSz="895350"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5pPr>
                <a:lvl6pPr marL="1039813" indent="-149225" defTabSz="89535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6pPr>
                <a:lvl7pPr marL="1497013" indent="-149225" defTabSz="89535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7pPr>
                <a:lvl8pPr marL="1954213" indent="-149225" defTabSz="89535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8pPr>
                <a:lvl9pPr marL="2411413" indent="-149225" defTabSz="89535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9pPr>
              </a:lstStyle>
              <a:p>
                <a:pPr algn="ctr"/>
                <a:r>
                  <a:rPr lang="en-US" altLang="ko-KR" sz="1050" b="1" dirty="0" smtClean="0">
                    <a:solidFill>
                      <a:schemeClr val="bg1"/>
                    </a:solidFill>
                    <a:latin typeface="+mj-lt"/>
                    <a:ea typeface="Gulim" pitchFamily="34" charset="-127"/>
                  </a:rPr>
                  <a:t>Reform of Act No.5/1990</a:t>
                </a:r>
                <a:endParaRPr lang="en-US" altLang="ko-KR" sz="1050" b="1" dirty="0">
                  <a:solidFill>
                    <a:schemeClr val="bg1"/>
                  </a:solidFill>
                  <a:latin typeface="+mj-lt"/>
                  <a:ea typeface="Gulim" pitchFamily="34" charset="-127"/>
                </a:endParaRPr>
              </a:p>
            </p:txBody>
          </p:sp>
        </p:grpSp>
      </p:grpSp>
      <p:cxnSp>
        <p:nvCxnSpPr>
          <p:cNvPr id="26" name="Straight Arrow Connector 25"/>
          <p:cNvCxnSpPr>
            <a:stCxn id="24" idx="6"/>
            <a:endCxn id="15" idx="1"/>
          </p:cNvCxnSpPr>
          <p:nvPr/>
        </p:nvCxnSpPr>
        <p:spPr>
          <a:xfrm>
            <a:off x="1940598" y="1890961"/>
            <a:ext cx="3351482" cy="729402"/>
          </a:xfrm>
          <a:prstGeom prst="straightConnector1">
            <a:avLst/>
          </a:prstGeom>
          <a:ln>
            <a:solidFill>
              <a:schemeClr val="accent3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>
            <a:stCxn id="24" idx="6"/>
            <a:endCxn id="16" idx="1"/>
          </p:cNvCxnSpPr>
          <p:nvPr/>
        </p:nvCxnSpPr>
        <p:spPr>
          <a:xfrm>
            <a:off x="1940598" y="1890961"/>
            <a:ext cx="3351482" cy="1788616"/>
          </a:xfrm>
          <a:prstGeom prst="straightConnector1">
            <a:avLst/>
          </a:prstGeom>
          <a:ln>
            <a:solidFill>
              <a:schemeClr val="accent3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/>
          <p:cNvCxnSpPr>
            <a:stCxn id="24" idx="6"/>
            <a:endCxn id="42" idx="1"/>
          </p:cNvCxnSpPr>
          <p:nvPr/>
        </p:nvCxnSpPr>
        <p:spPr>
          <a:xfrm>
            <a:off x="1940598" y="1890961"/>
            <a:ext cx="3351482" cy="2685812"/>
          </a:xfrm>
          <a:prstGeom prst="straightConnector1">
            <a:avLst/>
          </a:prstGeom>
          <a:ln>
            <a:solidFill>
              <a:schemeClr val="accent3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itle 1"/>
          <p:cNvSpPr>
            <a:spLocks noGrp="1"/>
          </p:cNvSpPr>
          <p:nvPr>
            <p:ph type="title"/>
          </p:nvPr>
        </p:nvSpPr>
        <p:spPr>
          <a:xfrm>
            <a:off x="304800" y="152401"/>
            <a:ext cx="8534400" cy="396280"/>
          </a:xfrm>
        </p:spPr>
        <p:txBody>
          <a:bodyPr/>
          <a:lstStyle/>
          <a:p>
            <a:r>
              <a:rPr lang="en-GB" sz="2400" cap="none" dirty="0" smtClean="0"/>
              <a:t>EXAMPLE: Legal Scope - Identified Challenges</a:t>
            </a:r>
            <a:endParaRPr lang="en-GB" sz="2400" cap="none" dirty="0"/>
          </a:p>
        </p:txBody>
      </p:sp>
      <p:sp>
        <p:nvSpPr>
          <p:cNvPr id="42" name="TextBox 41"/>
          <p:cNvSpPr txBox="1"/>
          <p:nvPr/>
        </p:nvSpPr>
        <p:spPr>
          <a:xfrm>
            <a:off x="5292080" y="4284385"/>
            <a:ext cx="352839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 smtClean="0"/>
              <a:t>Enforcement powers of forestry investigators are limited </a:t>
            </a:r>
            <a:endParaRPr lang="en-GB" sz="1600" dirty="0"/>
          </a:p>
        </p:txBody>
      </p:sp>
      <p:sp>
        <p:nvSpPr>
          <p:cNvPr id="48" name="TextBox 47"/>
          <p:cNvSpPr txBox="1"/>
          <p:nvPr/>
        </p:nvSpPr>
        <p:spPr>
          <a:xfrm>
            <a:off x="5292080" y="4941168"/>
            <a:ext cx="3528392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 smtClean="0"/>
              <a:t>The CITES management authority for marine species is currently </a:t>
            </a:r>
            <a:r>
              <a:rPr lang="en-GB" sz="1600" dirty="0" err="1" smtClean="0"/>
              <a:t>MoEF</a:t>
            </a:r>
            <a:r>
              <a:rPr lang="en-GB" sz="1600" dirty="0" smtClean="0"/>
              <a:t> – and marine species have insufficient focus. This could be revised</a:t>
            </a:r>
            <a:endParaRPr lang="en-GB" sz="1600" dirty="0"/>
          </a:p>
        </p:txBody>
      </p:sp>
      <p:cxnSp>
        <p:nvCxnSpPr>
          <p:cNvPr id="49" name="Straight Arrow Connector 48"/>
          <p:cNvCxnSpPr>
            <a:stCxn id="24" idx="6"/>
            <a:endCxn id="48" idx="1"/>
          </p:cNvCxnSpPr>
          <p:nvPr/>
        </p:nvCxnSpPr>
        <p:spPr>
          <a:xfrm>
            <a:off x="1940598" y="1890961"/>
            <a:ext cx="3351482" cy="3588816"/>
          </a:xfrm>
          <a:prstGeom prst="straightConnector1">
            <a:avLst/>
          </a:prstGeom>
          <a:ln>
            <a:solidFill>
              <a:schemeClr val="accent3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6790699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/>
        </p:nvGrpSpPr>
        <p:grpSpPr>
          <a:xfrm>
            <a:off x="67097" y="856688"/>
            <a:ext cx="1552575" cy="915988"/>
            <a:chOff x="1331640" y="2060848"/>
            <a:chExt cx="1552575" cy="915988"/>
          </a:xfrm>
        </p:grpSpPr>
        <p:sp>
          <p:nvSpPr>
            <p:cNvPr id="7" name="Oval 20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blackWhite">
            <a:xfrm>
              <a:off x="1331640" y="2060848"/>
              <a:ext cx="1552575" cy="915988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 w="9525">
              <a:noFill/>
              <a:round/>
              <a:headEnd/>
              <a:tailEnd/>
            </a:ln>
            <a:effectLst>
              <a:outerShdw dist="25400" dir="5400000" algn="ctr" rotWithShape="0">
                <a:schemeClr val="bg2"/>
              </a:outerShdw>
            </a:effectLst>
          </p:spPr>
          <p:txBody>
            <a:bodyPr wrap="none" anchor="ctr"/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8" name="Rectangle 21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blackWhite">
            <a:xfrm>
              <a:off x="1396331" y="2099014"/>
              <a:ext cx="1423194" cy="8396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3810" tIns="0" rIns="3810" bIns="0" anchor="ctr"/>
            <a:lstStyle>
              <a:lvl1pPr defTabSz="895350">
                <a:buSzPct val="120000"/>
                <a:defRPr sz="1600">
                  <a:solidFill>
                    <a:schemeClr val="tx1"/>
                  </a:solidFill>
                  <a:latin typeface="Arial" charset="0"/>
                  <a:ea typeface="-윤고딕130" pitchFamily="18" charset="-127"/>
                </a:defRPr>
              </a:lvl1pPr>
              <a:lvl2pPr marL="144463" indent="-142875" defTabSz="895350">
                <a:buSzPct val="120000"/>
                <a:buChar char="•"/>
                <a:defRPr sz="1600">
                  <a:solidFill>
                    <a:schemeClr val="tx1"/>
                  </a:solidFill>
                  <a:latin typeface="Arial" charset="0"/>
                  <a:ea typeface="-윤고딕130" pitchFamily="18" charset="-127"/>
                </a:defRPr>
              </a:lvl2pPr>
              <a:lvl3pPr marL="295275" indent="-149225" defTabSz="895350">
                <a:buChar char="–"/>
                <a:defRPr sz="1600">
                  <a:solidFill>
                    <a:schemeClr val="tx1"/>
                  </a:solidFill>
                  <a:latin typeface="Arial" charset="0"/>
                  <a:ea typeface="-윤고딕130" pitchFamily="18" charset="-127"/>
                </a:defRPr>
              </a:lvl3pPr>
              <a:lvl4pPr marL="431800" indent="-134938" defTabSz="895350">
                <a:buSzPct val="89000"/>
                <a:buChar char="•"/>
                <a:defRPr sz="1600">
                  <a:solidFill>
                    <a:schemeClr val="tx1"/>
                  </a:solidFill>
                  <a:latin typeface="Arial" charset="0"/>
                  <a:ea typeface="-윤고딕130" pitchFamily="18" charset="-127"/>
                </a:defRPr>
              </a:lvl4pPr>
              <a:lvl5pPr marL="582613" indent="-149225" defTabSz="895350"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  <a:ea typeface="-윤고딕130" pitchFamily="18" charset="-127"/>
                </a:defRPr>
              </a:lvl5pPr>
              <a:lvl6pPr marL="10398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  <a:ea typeface="-윤고딕130" pitchFamily="18" charset="-127"/>
                </a:defRPr>
              </a:lvl6pPr>
              <a:lvl7pPr marL="14970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  <a:ea typeface="-윤고딕130" pitchFamily="18" charset="-127"/>
                </a:defRPr>
              </a:lvl7pPr>
              <a:lvl8pPr marL="19542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  <a:ea typeface="-윤고딕130" pitchFamily="18" charset="-127"/>
                </a:defRPr>
              </a:lvl8pPr>
              <a:lvl9pPr marL="24114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charset="0"/>
                  <a:ea typeface="-윤고딕130" pitchFamily="18" charset="-127"/>
                </a:defRPr>
              </a:lvl9pPr>
            </a:lstStyle>
            <a:p>
              <a:pPr algn="ctr"/>
              <a:r>
                <a:rPr lang="en-US" altLang="ko-KR" sz="1400" b="1" dirty="0" smtClean="0">
                  <a:solidFill>
                    <a:schemeClr val="bg1"/>
                  </a:solidFill>
                  <a:latin typeface="+mj-lt"/>
                  <a:ea typeface="Gulim" pitchFamily="34" charset="-127"/>
                </a:rPr>
                <a:t>Legal Scope</a:t>
              </a:r>
              <a:endParaRPr lang="en-US" altLang="ko-KR" sz="1400" b="1" dirty="0">
                <a:solidFill>
                  <a:schemeClr val="bg1"/>
                </a:solidFill>
                <a:latin typeface="+mj-lt"/>
                <a:ea typeface="Gulim" pitchFamily="34" charset="-127"/>
              </a:endParaRPr>
            </a:p>
          </p:txBody>
        </p:sp>
      </p:grpSp>
      <p:sp>
        <p:nvSpPr>
          <p:cNvPr id="35" name="Title 1"/>
          <p:cNvSpPr>
            <a:spLocks noGrp="1"/>
          </p:cNvSpPr>
          <p:nvPr>
            <p:ph type="title"/>
          </p:nvPr>
        </p:nvSpPr>
        <p:spPr>
          <a:xfrm>
            <a:off x="304800" y="152401"/>
            <a:ext cx="8534400" cy="396280"/>
          </a:xfrm>
        </p:spPr>
        <p:txBody>
          <a:bodyPr/>
          <a:lstStyle/>
          <a:p>
            <a:r>
              <a:rPr lang="en-GB" sz="2400" cap="none" dirty="0" smtClean="0"/>
              <a:t>EXAMPLE: Legal Scope - Possible actions</a:t>
            </a:r>
            <a:endParaRPr lang="en-GB" sz="2400" cap="none" dirty="0"/>
          </a:p>
        </p:txBody>
      </p:sp>
      <p:sp>
        <p:nvSpPr>
          <p:cNvPr id="3" name="TextBox 2"/>
          <p:cNvSpPr txBox="1"/>
          <p:nvPr/>
        </p:nvSpPr>
        <p:spPr>
          <a:xfrm>
            <a:off x="2843808" y="954008"/>
            <a:ext cx="6120680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smtClean="0"/>
              <a:t>Revision on species protection – GR. No.7/1999, to align with CITES as a minimum.</a:t>
            </a:r>
          </a:p>
          <a:p>
            <a:endParaRPr lang="en-GB" dirty="0"/>
          </a:p>
          <a:p>
            <a:r>
              <a:rPr lang="en-GB" dirty="0" smtClean="0"/>
              <a:t>Revision of penalties: higher fines – max./min. sentences</a:t>
            </a:r>
          </a:p>
          <a:p>
            <a:endParaRPr lang="en-GB" dirty="0" smtClean="0"/>
          </a:p>
          <a:p>
            <a:r>
              <a:rPr lang="en-GB" dirty="0" smtClean="0"/>
              <a:t>Removal of various exclusion clauses (wildlife as gifts)</a:t>
            </a:r>
          </a:p>
          <a:p>
            <a:endParaRPr lang="en-GB" dirty="0" smtClean="0"/>
          </a:p>
          <a:p>
            <a:r>
              <a:rPr lang="en-GB" dirty="0" smtClean="0"/>
              <a:t>Increase authority of forestry and civil investigators and increase their powers of arrest and investigation</a:t>
            </a:r>
          </a:p>
          <a:p>
            <a:endParaRPr lang="en-GB" dirty="0" smtClean="0"/>
          </a:p>
          <a:p>
            <a:r>
              <a:rPr lang="en-GB" dirty="0" smtClean="0"/>
              <a:t>Allow prosecution of civil suits – e.g. enable legal </a:t>
            </a:r>
            <a:r>
              <a:rPr lang="en-GB" dirty="0"/>
              <a:t>action to be taken against government officers for </a:t>
            </a:r>
            <a:r>
              <a:rPr lang="en-GB" dirty="0" smtClean="0"/>
              <a:t>failure </a:t>
            </a:r>
            <a:r>
              <a:rPr lang="en-GB" dirty="0"/>
              <a:t>to enforce existing legislation. </a:t>
            </a:r>
            <a:endParaRPr lang="en-GB" dirty="0" smtClean="0"/>
          </a:p>
          <a:p>
            <a:endParaRPr lang="en-GB" dirty="0" smtClean="0"/>
          </a:p>
          <a:p>
            <a:r>
              <a:rPr lang="en-GB" dirty="0" smtClean="0"/>
              <a:t>Online trading of wildlife trade – e.g. allowing photos, videos and online as admissible evidence in wildlife crime cases.</a:t>
            </a:r>
          </a:p>
          <a:p>
            <a:endParaRPr lang="en-GB" dirty="0" smtClean="0"/>
          </a:p>
          <a:p>
            <a:r>
              <a:rPr lang="en-GB" dirty="0" smtClean="0"/>
              <a:t>Link protected species with their habitats on GR No.7/1999. </a:t>
            </a:r>
          </a:p>
          <a:p>
            <a:endParaRPr lang="en-GB" dirty="0"/>
          </a:p>
          <a:p>
            <a:endParaRPr lang="en-GB" dirty="0"/>
          </a:p>
        </p:txBody>
      </p:sp>
      <p:cxnSp>
        <p:nvCxnSpPr>
          <p:cNvPr id="27" name="Straight Arrow Connector 26"/>
          <p:cNvCxnSpPr>
            <a:stCxn id="7" idx="5"/>
          </p:cNvCxnSpPr>
          <p:nvPr/>
        </p:nvCxnSpPr>
        <p:spPr>
          <a:xfrm flipV="1">
            <a:off x="1392303" y="1314682"/>
            <a:ext cx="1518602" cy="323851"/>
          </a:xfrm>
          <a:prstGeom prst="straightConnector1">
            <a:avLst/>
          </a:prstGeom>
          <a:ln>
            <a:solidFill>
              <a:schemeClr val="accent3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7" idx="5"/>
          </p:cNvCxnSpPr>
          <p:nvPr/>
        </p:nvCxnSpPr>
        <p:spPr>
          <a:xfrm>
            <a:off x="1392303" y="1638533"/>
            <a:ext cx="1518602" cy="278299"/>
          </a:xfrm>
          <a:prstGeom prst="straightConnector1">
            <a:avLst/>
          </a:prstGeom>
          <a:ln>
            <a:solidFill>
              <a:schemeClr val="accent3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/>
          <p:cNvCxnSpPr>
            <a:stCxn id="7" idx="5"/>
          </p:cNvCxnSpPr>
          <p:nvPr/>
        </p:nvCxnSpPr>
        <p:spPr>
          <a:xfrm>
            <a:off x="1392303" y="1638533"/>
            <a:ext cx="1518602" cy="751217"/>
          </a:xfrm>
          <a:prstGeom prst="straightConnector1">
            <a:avLst/>
          </a:prstGeom>
          <a:ln>
            <a:solidFill>
              <a:schemeClr val="accent3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>
            <a:stCxn id="7" idx="5"/>
          </p:cNvCxnSpPr>
          <p:nvPr/>
        </p:nvCxnSpPr>
        <p:spPr>
          <a:xfrm>
            <a:off x="1392303" y="1638533"/>
            <a:ext cx="1518602" cy="1502435"/>
          </a:xfrm>
          <a:prstGeom prst="straightConnector1">
            <a:avLst/>
          </a:prstGeom>
          <a:ln>
            <a:solidFill>
              <a:schemeClr val="accent3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40"/>
          <p:cNvCxnSpPr>
            <a:stCxn id="7" idx="5"/>
          </p:cNvCxnSpPr>
          <p:nvPr/>
        </p:nvCxnSpPr>
        <p:spPr>
          <a:xfrm>
            <a:off x="1392303" y="1638533"/>
            <a:ext cx="1518602" cy="3446651"/>
          </a:xfrm>
          <a:prstGeom prst="straightConnector1">
            <a:avLst/>
          </a:prstGeom>
          <a:ln>
            <a:solidFill>
              <a:schemeClr val="accent3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/>
          <p:cNvCxnSpPr>
            <a:stCxn id="7" idx="5"/>
          </p:cNvCxnSpPr>
          <p:nvPr/>
        </p:nvCxnSpPr>
        <p:spPr>
          <a:xfrm>
            <a:off x="1392303" y="1638533"/>
            <a:ext cx="1518602" cy="4166731"/>
          </a:xfrm>
          <a:prstGeom prst="straightConnector1">
            <a:avLst/>
          </a:prstGeom>
          <a:ln>
            <a:solidFill>
              <a:schemeClr val="accent3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Arrow Connector 42"/>
          <p:cNvCxnSpPr>
            <a:stCxn id="7" idx="5"/>
          </p:cNvCxnSpPr>
          <p:nvPr/>
        </p:nvCxnSpPr>
        <p:spPr>
          <a:xfrm>
            <a:off x="1392303" y="1638533"/>
            <a:ext cx="1518602" cy="2438539"/>
          </a:xfrm>
          <a:prstGeom prst="straightConnector1">
            <a:avLst/>
          </a:prstGeom>
          <a:ln>
            <a:solidFill>
              <a:schemeClr val="accent3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18032710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" name="Group 27"/>
          <p:cNvGrpSpPr/>
          <p:nvPr/>
        </p:nvGrpSpPr>
        <p:grpSpPr>
          <a:xfrm>
            <a:off x="648807" y="1124744"/>
            <a:ext cx="7553125" cy="1404968"/>
            <a:chOff x="648807" y="1124744"/>
            <a:chExt cx="7553125" cy="1404968"/>
          </a:xfrm>
        </p:grpSpPr>
        <p:pic>
          <p:nvPicPr>
            <p:cNvPr id="5" name="Picture 4" descr="man_silhouette_clip_art.png"/>
            <p:cNvPicPr>
              <a:picLocks noChangeAspect="1"/>
            </p:cNvPicPr>
            <p:nvPr/>
          </p:nvPicPr>
          <p:blipFill rotWithShape="1">
            <a:blip r:embed="rId2" cstate="email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ackgroundRemoval t="1145" b="98473" l="3448" r="95402">
                          <a14:foregroundMark x1="50958" y1="10115" x2="50958" y2="10115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648807" y="1124744"/>
              <a:ext cx="690245" cy="1386967"/>
            </a:xfrm>
            <a:prstGeom prst="rect">
              <a:avLst/>
            </a:prstGeom>
          </p:spPr>
        </p:pic>
        <p:pic>
          <p:nvPicPr>
            <p:cNvPr id="6" name="Picture 5" descr="man_silhouette_clip_art.png"/>
            <p:cNvPicPr>
              <a:picLocks noChangeAspect="1"/>
            </p:cNvPicPr>
            <p:nvPr/>
          </p:nvPicPr>
          <p:blipFill rotWithShape="1">
            <a:blip r:embed="rId2" cstate="email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ackgroundRemoval t="1145" b="98473" l="3448" r="95402">
                          <a14:foregroundMark x1="50958" y1="10115" x2="50958" y2="10115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270029" y="1126346"/>
              <a:ext cx="690245" cy="1386967"/>
            </a:xfrm>
            <a:prstGeom prst="rect">
              <a:avLst/>
            </a:prstGeom>
          </p:spPr>
        </p:pic>
        <p:pic>
          <p:nvPicPr>
            <p:cNvPr id="7" name="Picture 6" descr="man_silhouette_clip_art.png"/>
            <p:cNvPicPr>
              <a:picLocks noChangeAspect="1"/>
            </p:cNvPicPr>
            <p:nvPr/>
          </p:nvPicPr>
          <p:blipFill rotWithShape="1">
            <a:blip r:embed="rId2" cstate="email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ackgroundRemoval t="1145" b="98473" l="3448" r="95402">
                          <a14:foregroundMark x1="50958" y1="10115" x2="50958" y2="10115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891249" y="1126346"/>
              <a:ext cx="690245" cy="1386967"/>
            </a:xfrm>
            <a:prstGeom prst="rect">
              <a:avLst/>
            </a:prstGeom>
          </p:spPr>
        </p:pic>
        <p:pic>
          <p:nvPicPr>
            <p:cNvPr id="8" name="Picture 7" descr="man_silhouette_clip_art.png"/>
            <p:cNvPicPr>
              <a:picLocks noChangeAspect="1"/>
            </p:cNvPicPr>
            <p:nvPr/>
          </p:nvPicPr>
          <p:blipFill rotWithShape="1">
            <a:blip r:embed="rId2" cstate="email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ackgroundRemoval t="1145" b="98473" l="3448" r="95402">
                          <a14:foregroundMark x1="50958" y1="10115" x2="50958" y2="10115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512471" y="1126880"/>
              <a:ext cx="690245" cy="1386967"/>
            </a:xfrm>
            <a:prstGeom prst="rect">
              <a:avLst/>
            </a:prstGeom>
          </p:spPr>
        </p:pic>
        <p:pic>
          <p:nvPicPr>
            <p:cNvPr id="9" name="Picture 8" descr="man_silhouette_clip_art.png"/>
            <p:cNvPicPr>
              <a:picLocks noChangeAspect="1"/>
            </p:cNvPicPr>
            <p:nvPr/>
          </p:nvPicPr>
          <p:blipFill rotWithShape="1">
            <a:blip r:embed="rId2" cstate="email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ackgroundRemoval t="1145" b="98473" l="3448" r="95402">
                          <a14:foregroundMark x1="50958" y1="10115" x2="50958" y2="10115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06628" y="1124744"/>
              <a:ext cx="690245" cy="1386967"/>
            </a:xfrm>
            <a:prstGeom prst="rect">
              <a:avLst/>
            </a:prstGeom>
          </p:spPr>
        </p:pic>
        <p:pic>
          <p:nvPicPr>
            <p:cNvPr id="10" name="Picture 9" descr="man_silhouette_clip_art.png"/>
            <p:cNvPicPr>
              <a:picLocks noChangeAspect="1"/>
            </p:cNvPicPr>
            <p:nvPr/>
          </p:nvPicPr>
          <p:blipFill rotWithShape="1">
            <a:blip r:embed="rId2" cstate="email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1145" b="98473" l="3448" r="95402">
                          <a14:foregroundMark x1="50958" y1="10115" x2="50958" y2="10115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727850" y="1125278"/>
              <a:ext cx="690245" cy="1386967"/>
            </a:xfrm>
            <a:prstGeom prst="rect">
              <a:avLst/>
            </a:prstGeom>
          </p:spPr>
        </p:pic>
        <p:pic>
          <p:nvPicPr>
            <p:cNvPr id="11" name="Picture 10" descr="man_silhouette_clip_art.png"/>
            <p:cNvPicPr>
              <a:picLocks noChangeAspect="1"/>
            </p:cNvPicPr>
            <p:nvPr/>
          </p:nvPicPr>
          <p:blipFill rotWithShape="1">
            <a:blip r:embed="rId2" cstate="email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ackgroundRemoval t="1145" b="98473" l="3448" r="95402">
                          <a14:foregroundMark x1="50958" y1="10115" x2="50958" y2="10115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349070" y="1125278"/>
              <a:ext cx="690245" cy="1386967"/>
            </a:xfrm>
            <a:prstGeom prst="rect">
              <a:avLst/>
            </a:prstGeom>
          </p:spPr>
        </p:pic>
        <p:pic>
          <p:nvPicPr>
            <p:cNvPr id="12" name="Picture 11" descr="man_silhouette_clip_art.png"/>
            <p:cNvPicPr>
              <a:picLocks noChangeAspect="1"/>
            </p:cNvPicPr>
            <p:nvPr/>
          </p:nvPicPr>
          <p:blipFill rotWithShape="1">
            <a:blip r:embed="rId2" cstate="email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ackgroundRemoval t="1145" b="98473" l="3448" r="95402">
                          <a14:foregroundMark x1="50958" y1="10115" x2="50958" y2="10115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970292" y="1125812"/>
              <a:ext cx="690245" cy="1386967"/>
            </a:xfrm>
            <a:prstGeom prst="rect">
              <a:avLst/>
            </a:prstGeom>
          </p:spPr>
        </p:pic>
        <p:pic>
          <p:nvPicPr>
            <p:cNvPr id="13" name="Picture 12" descr="man_silhouette_clip_art.png"/>
            <p:cNvPicPr>
              <a:picLocks noChangeAspect="1"/>
            </p:cNvPicPr>
            <p:nvPr/>
          </p:nvPicPr>
          <p:blipFill rotWithShape="1">
            <a:blip r:embed="rId2" cstate="email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ackgroundRemoval t="1145" b="98473" l="3448" r="95402">
                          <a14:foregroundMark x1="50958" y1="10115" x2="50958" y2="10115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6872241" y="1142745"/>
              <a:ext cx="690245" cy="1386967"/>
            </a:xfrm>
            <a:prstGeom prst="rect">
              <a:avLst/>
            </a:prstGeom>
          </p:spPr>
        </p:pic>
        <p:pic>
          <p:nvPicPr>
            <p:cNvPr id="14" name="Picture 13" descr="man_silhouette_clip_art.png"/>
            <p:cNvPicPr>
              <a:picLocks noChangeAspect="1"/>
            </p:cNvPicPr>
            <p:nvPr/>
          </p:nvPicPr>
          <p:blipFill rotWithShape="1">
            <a:blip r:embed="rId2" cstate="email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1145" b="98473" l="3448" r="95402">
                          <a14:foregroundMark x1="50958" y1="10115" x2="50958" y2="10115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7511687" y="1124744"/>
              <a:ext cx="690245" cy="1386967"/>
            </a:xfrm>
            <a:prstGeom prst="rect">
              <a:avLst/>
            </a:prstGeom>
          </p:spPr>
        </p:pic>
        <p:pic>
          <p:nvPicPr>
            <p:cNvPr id="19" name="Picture 18" descr="man_silhouette_clip_art.png"/>
            <p:cNvPicPr>
              <a:picLocks noChangeAspect="1"/>
            </p:cNvPicPr>
            <p:nvPr/>
          </p:nvPicPr>
          <p:blipFill rotWithShape="1">
            <a:blip r:embed="rId2" cstate="email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ackgroundRemoval t="1145" b="98473" l="3448" r="95402">
                          <a14:foregroundMark x1="50958" y1="10115" x2="50958" y2="10115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577707" y="1126880"/>
              <a:ext cx="690245" cy="1386967"/>
            </a:xfrm>
            <a:prstGeom prst="rect">
              <a:avLst/>
            </a:prstGeom>
          </p:spPr>
        </p:pic>
        <p:pic>
          <p:nvPicPr>
            <p:cNvPr id="20" name="Picture 19" descr="man_silhouette_clip_art.png"/>
            <p:cNvPicPr>
              <a:picLocks noChangeAspect="1"/>
            </p:cNvPicPr>
            <p:nvPr/>
          </p:nvPicPr>
          <p:blipFill rotWithShape="1">
            <a:blip r:embed="rId2" cstate="email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ackgroundRemoval t="1145" b="98473" l="3448" r="95402">
                          <a14:foregroundMark x1="50958" y1="10115" x2="50958" y2="10115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6198929" y="1127414"/>
              <a:ext cx="690245" cy="1386967"/>
            </a:xfrm>
            <a:prstGeom prst="rect">
              <a:avLst/>
            </a:prstGeom>
          </p:spPr>
        </p:pic>
      </p:grpSp>
      <p:pic>
        <p:nvPicPr>
          <p:cNvPr id="22" name="Picture 21" descr="man_silhouette_clip_art.png"/>
          <p:cNvPicPr>
            <a:picLocks noChangeAspect="1"/>
          </p:cNvPicPr>
          <p:nvPr/>
        </p:nvPicPr>
        <p:blipFill rotWithShape="1">
          <a:blip r:embed="rId6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145" b="98473" l="3448" r="95402">
                        <a14:foregroundMark x1="50958" y1="10115" x2="50958" y2="10115"/>
                      </a14:backgroundRemoval>
                    </a14:imgEffect>
                    <a14:imgEffect>
                      <a14:colorTemperature colorTemp="11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004" y="4634321"/>
            <a:ext cx="690245" cy="1386967"/>
          </a:xfrm>
          <a:prstGeom prst="rect">
            <a:avLst/>
          </a:prstGeom>
        </p:spPr>
      </p:pic>
      <p:grpSp>
        <p:nvGrpSpPr>
          <p:cNvPr id="25" name="Group 24"/>
          <p:cNvGrpSpPr/>
          <p:nvPr/>
        </p:nvGrpSpPr>
        <p:grpSpPr>
          <a:xfrm>
            <a:off x="635004" y="2891789"/>
            <a:ext cx="3728421" cy="1401307"/>
            <a:chOff x="635004" y="2563578"/>
            <a:chExt cx="3728421" cy="1401307"/>
          </a:xfrm>
        </p:grpSpPr>
        <p:pic>
          <p:nvPicPr>
            <p:cNvPr id="15" name="Picture 14" descr="man_silhouette_clip_art.png"/>
            <p:cNvPicPr>
              <a:picLocks noChangeAspect="1"/>
            </p:cNvPicPr>
            <p:nvPr/>
          </p:nvPicPr>
          <p:blipFill rotWithShape="1">
            <a:blip r:embed="rId2" cstate="email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1145" b="98473" l="3448" r="95402">
                          <a14:foregroundMark x1="50958" y1="10115" x2="50958" y2="10115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635004" y="2570465"/>
              <a:ext cx="690245" cy="1386967"/>
            </a:xfrm>
            <a:prstGeom prst="rect">
              <a:avLst/>
            </a:prstGeom>
          </p:spPr>
        </p:pic>
        <p:pic>
          <p:nvPicPr>
            <p:cNvPr id="16" name="Picture 15" descr="man_silhouette_clip_art.png"/>
            <p:cNvPicPr>
              <a:picLocks noChangeAspect="1"/>
            </p:cNvPicPr>
            <p:nvPr/>
          </p:nvPicPr>
          <p:blipFill rotWithShape="1">
            <a:blip r:embed="rId2" cstate="email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1145" b="98473" l="3448" r="95402">
                          <a14:foregroundMark x1="50958" y1="10115" x2="50958" y2="10115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256226" y="2570999"/>
              <a:ext cx="690245" cy="1386967"/>
            </a:xfrm>
            <a:prstGeom prst="rect">
              <a:avLst/>
            </a:prstGeom>
          </p:spPr>
        </p:pic>
        <p:pic>
          <p:nvPicPr>
            <p:cNvPr id="17" name="Picture 16" descr="man_silhouette_clip_art.png"/>
            <p:cNvPicPr>
              <a:picLocks noChangeAspect="1"/>
            </p:cNvPicPr>
            <p:nvPr/>
          </p:nvPicPr>
          <p:blipFill rotWithShape="1">
            <a:blip r:embed="rId2" cstate="email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1145" b="98473" l="3448" r="95402">
                          <a14:foregroundMark x1="50958" y1="10115" x2="50958" y2="10115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850383" y="2568863"/>
              <a:ext cx="690245" cy="1386967"/>
            </a:xfrm>
            <a:prstGeom prst="rect">
              <a:avLst/>
            </a:prstGeom>
          </p:spPr>
        </p:pic>
        <p:pic>
          <p:nvPicPr>
            <p:cNvPr id="18" name="Picture 17" descr="man_silhouette_clip_art.png"/>
            <p:cNvPicPr>
              <a:picLocks noChangeAspect="1"/>
            </p:cNvPicPr>
            <p:nvPr/>
          </p:nvPicPr>
          <p:blipFill rotWithShape="1">
            <a:blip r:embed="rId2" cstate="email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1145" b="98473" l="3448" r="95402">
                          <a14:foregroundMark x1="50958" y1="10115" x2="50958" y2="10115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471605" y="2569397"/>
              <a:ext cx="690245" cy="1386967"/>
            </a:xfrm>
            <a:prstGeom prst="rect">
              <a:avLst/>
            </a:prstGeom>
          </p:spPr>
        </p:pic>
        <p:pic>
          <p:nvPicPr>
            <p:cNvPr id="21" name="Picture 20" descr="man_silhouette_clip_art.png"/>
            <p:cNvPicPr>
              <a:picLocks noChangeAspect="1"/>
            </p:cNvPicPr>
            <p:nvPr/>
          </p:nvPicPr>
          <p:blipFill rotWithShape="1">
            <a:blip r:embed="rId2" cstate="email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ackgroundRemoval t="1145" b="98473" l="3448" r="95402">
                          <a14:foregroundMark x1="50958" y1="10115" x2="50958" y2="10115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079020" y="2563578"/>
              <a:ext cx="690245" cy="1386967"/>
            </a:xfrm>
            <a:prstGeom prst="rect">
              <a:avLst/>
            </a:prstGeom>
          </p:spPr>
        </p:pic>
        <p:pic>
          <p:nvPicPr>
            <p:cNvPr id="23" name="Picture 22" descr="man_silhouette_clip_art.png"/>
            <p:cNvPicPr>
              <a:picLocks noChangeAspect="1"/>
            </p:cNvPicPr>
            <p:nvPr/>
          </p:nvPicPr>
          <p:blipFill rotWithShape="1">
            <a:blip r:embed="rId2" cstate="email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1145" b="98473" l="3448" r="95402">
                          <a14:foregroundMark x1="50958" y1="10115" x2="50958" y2="10115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673180" y="2577918"/>
              <a:ext cx="690245" cy="1386967"/>
            </a:xfrm>
            <a:prstGeom prst="rect">
              <a:avLst/>
            </a:prstGeom>
          </p:spPr>
        </p:pic>
      </p:grpSp>
      <p:sp>
        <p:nvSpPr>
          <p:cNvPr id="24" name="TextBox 23"/>
          <p:cNvSpPr txBox="1"/>
          <p:nvPr/>
        </p:nvSpPr>
        <p:spPr>
          <a:xfrm>
            <a:off x="611560" y="2529878"/>
            <a:ext cx="54114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 smtClean="0"/>
              <a:t>INVESTIGATIONS</a:t>
            </a:r>
            <a:endParaRPr lang="en-GB" b="1" dirty="0"/>
          </a:p>
        </p:txBody>
      </p:sp>
      <p:sp>
        <p:nvSpPr>
          <p:cNvPr id="26" name="TextBox 25"/>
          <p:cNvSpPr txBox="1"/>
          <p:nvPr/>
        </p:nvSpPr>
        <p:spPr>
          <a:xfrm>
            <a:off x="611560" y="4268599"/>
            <a:ext cx="54114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 smtClean="0"/>
              <a:t>ARRESTS</a:t>
            </a:r>
            <a:endParaRPr lang="en-GB" b="1" dirty="0"/>
          </a:p>
        </p:txBody>
      </p:sp>
      <p:sp>
        <p:nvSpPr>
          <p:cNvPr id="27" name="TextBox 26"/>
          <p:cNvSpPr txBox="1"/>
          <p:nvPr/>
        </p:nvSpPr>
        <p:spPr>
          <a:xfrm>
            <a:off x="600690" y="6021288"/>
            <a:ext cx="54114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 smtClean="0"/>
              <a:t>PROSECUTIONS</a:t>
            </a:r>
            <a:endParaRPr lang="en-GB" b="1" dirty="0"/>
          </a:p>
        </p:txBody>
      </p:sp>
      <p:sp>
        <p:nvSpPr>
          <p:cNvPr id="29" name="Title 1"/>
          <p:cNvSpPr>
            <a:spLocks noGrp="1"/>
          </p:cNvSpPr>
          <p:nvPr>
            <p:ph type="title"/>
          </p:nvPr>
        </p:nvSpPr>
        <p:spPr>
          <a:xfrm>
            <a:off x="304800" y="133053"/>
            <a:ext cx="8534400" cy="415627"/>
          </a:xfrm>
        </p:spPr>
        <p:txBody>
          <a:bodyPr/>
          <a:lstStyle/>
          <a:p>
            <a:r>
              <a:rPr lang="en-GB" sz="2400" cap="none" dirty="0" smtClean="0"/>
              <a:t>OTHER IDENTIFIED CHALLENGES </a:t>
            </a:r>
            <a:endParaRPr lang="en-GB" sz="2400" cap="none" dirty="0"/>
          </a:p>
        </p:txBody>
      </p:sp>
    </p:spTree>
    <p:extLst>
      <p:ext uri="{BB962C8B-B14F-4D97-AF65-F5344CB8AC3E}">
        <p14:creationId xmlns:p14="http://schemas.microsoft.com/office/powerpoint/2010/main" val="3700474582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/>
      <p:bldP spid="26" grpId="0"/>
      <p:bldP spid="27" grpId="0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33053"/>
            <a:ext cx="8534400" cy="415627"/>
          </a:xfrm>
        </p:spPr>
        <p:txBody>
          <a:bodyPr/>
          <a:lstStyle/>
          <a:p>
            <a:r>
              <a:rPr lang="en-GB" sz="2400" cap="none" dirty="0" smtClean="0"/>
              <a:t>OTHER IDENTIFIED CHALLENGES </a:t>
            </a:r>
            <a:endParaRPr lang="en-GB" sz="2400" cap="none" dirty="0"/>
          </a:p>
        </p:txBody>
      </p:sp>
      <p:sp>
        <p:nvSpPr>
          <p:cNvPr id="11" name="TextBox 10"/>
          <p:cNvSpPr txBox="1"/>
          <p:nvPr/>
        </p:nvSpPr>
        <p:spPr>
          <a:xfrm>
            <a:off x="2555776" y="5724545"/>
            <a:ext cx="64807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t"/>
            <a:r>
              <a:rPr lang="en-US" sz="1600" dirty="0" smtClean="0"/>
              <a:t>Legally </a:t>
            </a:r>
            <a:r>
              <a:rPr lang="en-US" sz="1600" dirty="0"/>
              <a:t>permitted quotas on harvesting of CITES</a:t>
            </a:r>
            <a:r>
              <a:rPr lang="id-ID" sz="1600" dirty="0"/>
              <a:t>-</a:t>
            </a:r>
            <a:r>
              <a:rPr lang="en-US" sz="1600" dirty="0"/>
              <a:t>listed species are </a:t>
            </a:r>
            <a:r>
              <a:rPr lang="en-US" sz="1600" dirty="0" smtClean="0"/>
              <a:t>not well established </a:t>
            </a:r>
            <a:r>
              <a:rPr lang="en-US" sz="1600" dirty="0"/>
              <a:t>and </a:t>
            </a:r>
            <a:r>
              <a:rPr lang="en-US" sz="1600" dirty="0" smtClean="0"/>
              <a:t>have limited monitoring.</a:t>
            </a:r>
            <a:endParaRPr lang="en-GB" sz="1600" dirty="0"/>
          </a:p>
        </p:txBody>
      </p:sp>
      <p:sp>
        <p:nvSpPr>
          <p:cNvPr id="15" name="TextBox 14"/>
          <p:cNvSpPr txBox="1"/>
          <p:nvPr/>
        </p:nvSpPr>
        <p:spPr>
          <a:xfrm>
            <a:off x="2530748" y="2060848"/>
            <a:ext cx="650574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t"/>
            <a:r>
              <a:rPr lang="en-US" sz="1600" dirty="0"/>
              <a:t>Forestry PPNS </a:t>
            </a:r>
            <a:r>
              <a:rPr lang="en-US" sz="1600" dirty="0" smtClean="0"/>
              <a:t>cannot arrest suspects of </a:t>
            </a:r>
            <a:r>
              <a:rPr lang="en-US" sz="1600" dirty="0"/>
              <a:t>‘wildlife crime’. </a:t>
            </a:r>
            <a:endParaRPr lang="en-GB" sz="1600" dirty="0"/>
          </a:p>
          <a:p>
            <a:pPr fontAlgn="t"/>
            <a:endParaRPr lang="en-US" sz="1600" dirty="0" smtClean="0"/>
          </a:p>
          <a:p>
            <a:pPr fontAlgn="t"/>
            <a:r>
              <a:rPr lang="en-US" sz="1600" dirty="0" smtClean="0"/>
              <a:t>Improper </a:t>
            </a:r>
            <a:r>
              <a:rPr lang="en-US" sz="1600" dirty="0"/>
              <a:t>legal process </a:t>
            </a:r>
            <a:r>
              <a:rPr lang="en-US" sz="1600" dirty="0" smtClean="0"/>
              <a:t>often leads </a:t>
            </a:r>
            <a:r>
              <a:rPr lang="en-US" sz="1600" dirty="0"/>
              <a:t>to early case dismissal</a:t>
            </a:r>
            <a:r>
              <a:rPr lang="en-US" sz="1600" dirty="0" smtClean="0"/>
              <a:t>.</a:t>
            </a:r>
          </a:p>
          <a:p>
            <a:pPr fontAlgn="t"/>
            <a:endParaRPr lang="en-GB" sz="1600" dirty="0"/>
          </a:p>
          <a:p>
            <a:pPr fontAlgn="t"/>
            <a:r>
              <a:rPr lang="en-US" sz="1600" dirty="0"/>
              <a:t>Lack of technical knowledge within </a:t>
            </a:r>
            <a:r>
              <a:rPr lang="en-US" sz="1600" dirty="0" smtClean="0"/>
              <a:t>police </a:t>
            </a:r>
            <a:r>
              <a:rPr lang="en-US" sz="1600" dirty="0"/>
              <a:t>investigators and </a:t>
            </a:r>
            <a:r>
              <a:rPr lang="id-ID" sz="1600" dirty="0"/>
              <a:t>prosecutors</a:t>
            </a:r>
            <a:r>
              <a:rPr lang="en-US" sz="1600" dirty="0" smtClean="0"/>
              <a:t>.</a:t>
            </a:r>
            <a:endParaRPr lang="en-GB" sz="1600" dirty="0" smtClean="0"/>
          </a:p>
          <a:p>
            <a:pPr fontAlgn="t"/>
            <a:endParaRPr lang="en-GB" sz="1600" dirty="0" smtClean="0"/>
          </a:p>
          <a:p>
            <a:r>
              <a:rPr lang="en-US" sz="1600" dirty="0"/>
              <a:t>Investigation of online wildlife trading is limited and is restricted to investigators without expertise in wildlife trade.</a:t>
            </a:r>
            <a:endParaRPr lang="en-GB" sz="1600" dirty="0"/>
          </a:p>
          <a:p>
            <a:endParaRPr lang="en-GB" sz="1600" dirty="0"/>
          </a:p>
        </p:txBody>
      </p:sp>
      <p:sp>
        <p:nvSpPr>
          <p:cNvPr id="22" name="TextBox 21"/>
          <p:cNvSpPr txBox="1"/>
          <p:nvPr/>
        </p:nvSpPr>
        <p:spPr>
          <a:xfrm>
            <a:off x="2555776" y="1052736"/>
            <a:ext cx="5904656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t"/>
            <a:r>
              <a:rPr lang="en-US" sz="1600" dirty="0"/>
              <a:t>Minimal crime </a:t>
            </a:r>
            <a:r>
              <a:rPr lang="en-US" sz="1600" dirty="0" smtClean="0"/>
              <a:t>detection – few staff, limited ground based actions.</a:t>
            </a:r>
          </a:p>
          <a:p>
            <a:pPr fontAlgn="t"/>
            <a:endParaRPr lang="en-GB" sz="1600" dirty="0"/>
          </a:p>
          <a:p>
            <a:pPr fontAlgn="t"/>
            <a:r>
              <a:rPr lang="en-US" sz="1600" dirty="0"/>
              <a:t>Insufficient knowledge/training for enforcement officers</a:t>
            </a:r>
            <a:endParaRPr lang="en-GB" sz="1600" dirty="0"/>
          </a:p>
          <a:p>
            <a:endParaRPr lang="en-GB" sz="1600" dirty="0"/>
          </a:p>
        </p:txBody>
      </p:sp>
      <p:sp>
        <p:nvSpPr>
          <p:cNvPr id="27" name="TextBox 26"/>
          <p:cNvSpPr txBox="1"/>
          <p:nvPr/>
        </p:nvSpPr>
        <p:spPr>
          <a:xfrm>
            <a:off x="2555776" y="4221088"/>
            <a:ext cx="658822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t"/>
            <a:r>
              <a:rPr lang="en-US" sz="1600" dirty="0" smtClean="0"/>
              <a:t>Sentencing is often based on ‘state losses’- these are difficult to determine for wildlife crime.  </a:t>
            </a:r>
          </a:p>
          <a:p>
            <a:pPr fontAlgn="t"/>
            <a:endParaRPr lang="en-GB" sz="1600" dirty="0"/>
          </a:p>
          <a:p>
            <a:pPr fontAlgn="t"/>
            <a:r>
              <a:rPr lang="en-US" sz="1600" dirty="0"/>
              <a:t>Limited collaboration </a:t>
            </a:r>
            <a:r>
              <a:rPr lang="en-US" sz="1600" dirty="0" smtClean="0"/>
              <a:t>– police/military, forestry </a:t>
            </a:r>
            <a:r>
              <a:rPr lang="en-US" sz="1600" dirty="0"/>
              <a:t>rangers, civil investigators</a:t>
            </a:r>
            <a:r>
              <a:rPr lang="id-ID" sz="1600" dirty="0"/>
              <a:t>, </a:t>
            </a:r>
            <a:r>
              <a:rPr lang="id-ID" sz="1600" dirty="0" smtClean="0"/>
              <a:t>and </a:t>
            </a:r>
            <a:r>
              <a:rPr lang="id-ID" sz="1600" dirty="0"/>
              <a:t>the </a:t>
            </a:r>
            <a:r>
              <a:rPr lang="id-ID" sz="1600" dirty="0" smtClean="0"/>
              <a:t>public</a:t>
            </a:r>
            <a:r>
              <a:rPr lang="en-US" sz="1600" dirty="0"/>
              <a:t>.</a:t>
            </a:r>
            <a:endParaRPr lang="en-GB" sz="1600" dirty="0"/>
          </a:p>
        </p:txBody>
      </p:sp>
      <p:grpSp>
        <p:nvGrpSpPr>
          <p:cNvPr id="50" name="Group 49"/>
          <p:cNvGrpSpPr/>
          <p:nvPr/>
        </p:nvGrpSpPr>
        <p:grpSpPr>
          <a:xfrm>
            <a:off x="283121" y="1013064"/>
            <a:ext cx="1552575" cy="5152240"/>
            <a:chOff x="395536" y="764704"/>
            <a:chExt cx="1552575" cy="5152240"/>
          </a:xfrm>
          <a:solidFill>
            <a:schemeClr val="accent3">
              <a:lumMod val="50000"/>
            </a:schemeClr>
          </a:solidFill>
        </p:grpSpPr>
        <p:grpSp>
          <p:nvGrpSpPr>
            <p:cNvPr id="7" name="Group 6"/>
            <p:cNvGrpSpPr/>
            <p:nvPr/>
          </p:nvGrpSpPr>
          <p:grpSpPr>
            <a:xfrm>
              <a:off x="395536" y="5000956"/>
              <a:ext cx="1552575" cy="915988"/>
              <a:chOff x="2060104" y="3092549"/>
              <a:chExt cx="1552575" cy="915988"/>
            </a:xfrm>
            <a:grpFill/>
          </p:grpSpPr>
          <p:sp>
            <p:nvSpPr>
              <p:cNvPr id="5" name="Oval 17"/>
              <p:cNvSpPr>
                <a:spLocks noChangeArrowheads="1"/>
              </p:cNvSpPr>
              <p:nvPr>
                <p:custDataLst>
                  <p:tags r:id="rId7"/>
                </p:custDataLst>
              </p:nvPr>
            </p:nvSpPr>
            <p:spPr bwMode="blackWhite">
              <a:xfrm>
                <a:off x="2060104" y="3092549"/>
                <a:ext cx="1552575" cy="915988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  <a:effectLst>
                <a:outerShdw dist="25400" dir="5400000" algn="ctr" rotWithShape="0">
                  <a:schemeClr val="bg2"/>
                </a:outerShdw>
              </a:effectLst>
            </p:spPr>
            <p:txBody>
              <a:bodyPr wrap="none" anchor="ctr"/>
              <a:lstStyle/>
              <a:p>
                <a:endParaRPr lang="en-GB" sz="140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6" name="Rectangle 18"/>
              <p:cNvSpPr>
                <a:spLocks noChangeArrowheads="1"/>
              </p:cNvSpPr>
              <p:nvPr>
                <p:custDataLst>
                  <p:tags r:id="rId8"/>
                </p:custDataLst>
              </p:nvPr>
            </p:nvSpPr>
            <p:spPr bwMode="blackWhite">
              <a:xfrm>
                <a:off x="2124795" y="3130715"/>
                <a:ext cx="1423194" cy="83965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810" tIns="0" rIns="3810" bIns="0" anchor="ctr"/>
              <a:lstStyle>
                <a:lvl1pPr defTabSz="895350">
                  <a:buSzPct val="120000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1pPr>
                <a:lvl2pPr marL="144463" indent="-142875" defTabSz="895350">
                  <a:buSzPct val="120000"/>
                  <a:buChar char="•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2pPr>
                <a:lvl3pPr marL="295275" indent="-149225" defTabSz="895350"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3pPr>
                <a:lvl4pPr marL="431800" indent="-134938" defTabSz="895350">
                  <a:buSzPct val="89000"/>
                  <a:buChar char="•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4pPr>
                <a:lvl5pPr marL="582613" indent="-149225" defTabSz="895350"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5pPr>
                <a:lvl6pPr marL="1039813" indent="-149225" defTabSz="89535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6pPr>
                <a:lvl7pPr marL="1497013" indent="-149225" defTabSz="89535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7pPr>
                <a:lvl8pPr marL="1954213" indent="-149225" defTabSz="89535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8pPr>
                <a:lvl9pPr marL="2411413" indent="-149225" defTabSz="89535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9pPr>
              </a:lstStyle>
              <a:p>
                <a:pPr algn="ctr"/>
                <a:r>
                  <a:rPr lang="en-US" altLang="ko-KR" sz="1400" b="1" dirty="0" smtClean="0">
                    <a:solidFill>
                      <a:schemeClr val="bg1"/>
                    </a:solidFill>
                    <a:latin typeface="+mj-lt"/>
                    <a:ea typeface="Gulim" pitchFamily="34" charset="-127"/>
                  </a:rPr>
                  <a:t>Implementation and Enforcement </a:t>
                </a:r>
                <a:endParaRPr lang="en-US" altLang="ko-KR" sz="1400" b="1" dirty="0">
                  <a:solidFill>
                    <a:schemeClr val="bg1"/>
                  </a:solidFill>
                  <a:latin typeface="+mj-lt"/>
                  <a:ea typeface="Gulim" pitchFamily="34" charset="-127"/>
                </a:endParaRPr>
              </a:p>
            </p:txBody>
          </p:sp>
        </p:grpSp>
        <p:grpSp>
          <p:nvGrpSpPr>
            <p:cNvPr id="16" name="Group 15"/>
            <p:cNvGrpSpPr/>
            <p:nvPr/>
          </p:nvGrpSpPr>
          <p:grpSpPr>
            <a:xfrm>
              <a:off x="395536" y="2420888"/>
              <a:ext cx="1552575" cy="915988"/>
              <a:chOff x="4687417" y="4529236"/>
              <a:chExt cx="1552575" cy="915988"/>
            </a:xfrm>
            <a:grpFill/>
          </p:grpSpPr>
          <p:sp>
            <p:nvSpPr>
              <p:cNvPr id="17" name="Oval 8"/>
              <p:cNvSpPr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blackWhite">
              <a:xfrm>
                <a:off x="4687417" y="4529236"/>
                <a:ext cx="1552575" cy="915988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  <a:effectLst>
                <a:outerShdw dist="25400" dir="5400000" algn="ctr" rotWithShape="0">
                  <a:schemeClr val="bg2"/>
                </a:outerShdw>
              </a:effectLst>
            </p:spPr>
            <p:txBody>
              <a:bodyPr wrap="none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18" name="Rectangle 9"/>
              <p:cNvSpPr>
                <a:spLocks noChangeArrowheads="1"/>
              </p:cNvSpPr>
              <p:nvPr>
                <p:custDataLst>
                  <p:tags r:id="rId6"/>
                </p:custDataLst>
              </p:nvPr>
            </p:nvSpPr>
            <p:spPr bwMode="blackWhite">
              <a:xfrm>
                <a:off x="4787687" y="4567402"/>
                <a:ext cx="1423194" cy="83965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810" tIns="0" rIns="3810" bIns="0" anchor="ctr"/>
              <a:lstStyle>
                <a:lvl1pPr defTabSz="895350">
                  <a:buSzPct val="120000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1pPr>
                <a:lvl2pPr marL="144463" indent="-142875" defTabSz="895350">
                  <a:buSzPct val="120000"/>
                  <a:buChar char="•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2pPr>
                <a:lvl3pPr marL="295275" indent="-149225" defTabSz="895350"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3pPr>
                <a:lvl4pPr marL="431800" indent="-134938" defTabSz="895350">
                  <a:buSzPct val="89000"/>
                  <a:buChar char="•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4pPr>
                <a:lvl5pPr marL="582613" indent="-149225" defTabSz="895350"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5pPr>
                <a:lvl6pPr marL="1039813" indent="-149225" defTabSz="89535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6pPr>
                <a:lvl7pPr marL="1497013" indent="-149225" defTabSz="89535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7pPr>
                <a:lvl8pPr marL="1954213" indent="-149225" defTabSz="89535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8pPr>
                <a:lvl9pPr marL="2411413" indent="-149225" defTabSz="89535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9pPr>
              </a:lstStyle>
              <a:p>
                <a:pPr algn="ctr"/>
                <a:r>
                  <a:rPr lang="en-US" altLang="ko-KR" sz="1400" b="1" dirty="0" smtClean="0">
                    <a:solidFill>
                      <a:schemeClr val="bg1"/>
                    </a:solidFill>
                    <a:latin typeface="+mj-lt"/>
                    <a:ea typeface="Gulim" pitchFamily="34" charset="-127"/>
                  </a:rPr>
                  <a:t>Arrest and Detention</a:t>
                </a:r>
                <a:endParaRPr lang="en-US" altLang="ko-KR" sz="1400" b="1" dirty="0">
                  <a:solidFill>
                    <a:schemeClr val="bg1"/>
                  </a:solidFill>
                  <a:latin typeface="+mj-lt"/>
                  <a:ea typeface="Gulim" pitchFamily="34" charset="-127"/>
                </a:endParaRPr>
              </a:p>
            </p:txBody>
          </p:sp>
        </p:grpSp>
        <p:grpSp>
          <p:nvGrpSpPr>
            <p:cNvPr id="23" name="Group 22"/>
            <p:cNvGrpSpPr/>
            <p:nvPr/>
          </p:nvGrpSpPr>
          <p:grpSpPr>
            <a:xfrm>
              <a:off x="395536" y="1150363"/>
              <a:ext cx="1552575" cy="915988"/>
              <a:chOff x="5336704" y="2935386"/>
              <a:chExt cx="1552575" cy="915988"/>
            </a:xfrm>
            <a:grpFill/>
          </p:grpSpPr>
          <p:sp>
            <p:nvSpPr>
              <p:cNvPr id="24" name="Oval 14"/>
              <p:cNvSpPr>
                <a:spLocks noChangeArrowheads="1"/>
              </p:cNvSpPr>
              <p:nvPr>
                <p:custDataLst>
                  <p:tags r:id="rId3"/>
                </p:custDataLst>
              </p:nvPr>
            </p:nvSpPr>
            <p:spPr bwMode="blackWhite">
              <a:xfrm>
                <a:off x="5336704" y="2935386"/>
                <a:ext cx="1552575" cy="915988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  <a:effectLst>
                <a:outerShdw dist="25400" dir="5400000" algn="ctr" rotWithShape="0">
                  <a:schemeClr val="bg2"/>
                </a:outerShdw>
              </a:effectLst>
            </p:spPr>
            <p:txBody>
              <a:bodyPr wrap="none" anchor="ctr"/>
              <a:lstStyle/>
              <a:p>
                <a:endParaRPr lang="en-GB">
                  <a:solidFill>
                    <a:schemeClr val="bg1"/>
                  </a:solidFill>
                </a:endParaRPr>
              </a:p>
            </p:txBody>
          </p:sp>
          <p:sp>
            <p:nvSpPr>
              <p:cNvPr id="25" name="Rectangle 15"/>
              <p:cNvSpPr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blackWhite">
              <a:xfrm>
                <a:off x="5401395" y="2973552"/>
                <a:ext cx="1423194" cy="83965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810" tIns="0" rIns="3810" bIns="0" anchor="ctr"/>
              <a:lstStyle>
                <a:lvl1pPr defTabSz="895350">
                  <a:buSzPct val="120000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1pPr>
                <a:lvl2pPr marL="144463" indent="-142875" defTabSz="895350">
                  <a:buSzPct val="120000"/>
                  <a:buChar char="•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2pPr>
                <a:lvl3pPr marL="295275" indent="-149225" defTabSz="895350"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3pPr>
                <a:lvl4pPr marL="431800" indent="-134938" defTabSz="895350">
                  <a:buSzPct val="89000"/>
                  <a:buChar char="•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4pPr>
                <a:lvl5pPr marL="582613" indent="-149225" defTabSz="895350"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5pPr>
                <a:lvl6pPr marL="1039813" indent="-149225" defTabSz="89535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6pPr>
                <a:lvl7pPr marL="1497013" indent="-149225" defTabSz="89535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7pPr>
                <a:lvl8pPr marL="1954213" indent="-149225" defTabSz="89535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8pPr>
                <a:lvl9pPr marL="2411413" indent="-149225" defTabSz="89535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9pPr>
              </a:lstStyle>
              <a:p>
                <a:pPr algn="ctr"/>
                <a:r>
                  <a:rPr lang="en-US" altLang="ko-KR" sz="1400" b="1" dirty="0" smtClean="0">
                    <a:solidFill>
                      <a:schemeClr val="bg1"/>
                    </a:solidFill>
                    <a:latin typeface="+mj-lt"/>
                    <a:ea typeface="Gulim" pitchFamily="34" charset="-127"/>
                  </a:rPr>
                  <a:t>Detection and Reporting</a:t>
                </a:r>
                <a:endParaRPr lang="en-US" altLang="ko-KR" sz="1400" b="1" dirty="0">
                  <a:solidFill>
                    <a:schemeClr val="bg1"/>
                  </a:solidFill>
                  <a:latin typeface="+mj-lt"/>
                  <a:ea typeface="Gulim" pitchFamily="34" charset="-127"/>
                </a:endParaRPr>
              </a:p>
            </p:txBody>
          </p:sp>
        </p:grpSp>
        <p:grpSp>
          <p:nvGrpSpPr>
            <p:cNvPr id="28" name="Group 27"/>
            <p:cNvGrpSpPr/>
            <p:nvPr/>
          </p:nvGrpSpPr>
          <p:grpSpPr>
            <a:xfrm>
              <a:off x="395536" y="3703306"/>
              <a:ext cx="1552575" cy="915988"/>
              <a:chOff x="2550642" y="4529236"/>
              <a:chExt cx="1552575" cy="915988"/>
            </a:xfrm>
            <a:grpFill/>
          </p:grpSpPr>
          <p:sp>
            <p:nvSpPr>
              <p:cNvPr id="29" name="Oval 11"/>
              <p:cNvSpPr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blackWhite">
              <a:xfrm>
                <a:off x="2550642" y="4529236"/>
                <a:ext cx="1552575" cy="915988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  <a:effectLst>
                <a:outerShdw dist="25400" dir="5400000" algn="ctr" rotWithShape="0">
                  <a:schemeClr val="bg2"/>
                </a:outerShdw>
              </a:effectLst>
            </p:spPr>
            <p:txBody>
              <a:bodyPr wrap="none" anchor="ctr"/>
              <a:lstStyle/>
              <a:p>
                <a:endParaRPr lang="en-GB" sz="140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30" name="Rectangle 12"/>
              <p:cNvSpPr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blackWhite">
              <a:xfrm>
                <a:off x="2628271" y="4605568"/>
                <a:ext cx="1423194" cy="83965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810" tIns="0" rIns="3810" bIns="0" anchor="ctr"/>
              <a:lstStyle>
                <a:lvl1pPr defTabSz="895350">
                  <a:buSzPct val="120000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1pPr>
                <a:lvl2pPr marL="144463" indent="-142875" defTabSz="895350">
                  <a:buSzPct val="120000"/>
                  <a:buChar char="•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2pPr>
                <a:lvl3pPr marL="295275" indent="-149225" defTabSz="895350"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3pPr>
                <a:lvl4pPr marL="431800" indent="-134938" defTabSz="895350">
                  <a:buSzPct val="89000"/>
                  <a:buChar char="•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4pPr>
                <a:lvl5pPr marL="582613" indent="-149225" defTabSz="895350"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5pPr>
                <a:lvl6pPr marL="1039813" indent="-149225" defTabSz="89535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6pPr>
                <a:lvl7pPr marL="1497013" indent="-149225" defTabSz="89535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7pPr>
                <a:lvl8pPr marL="1954213" indent="-149225" defTabSz="89535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8pPr>
                <a:lvl9pPr marL="2411413" indent="-149225" defTabSz="89535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9pPr>
              </a:lstStyle>
              <a:p>
                <a:pPr algn="ctr"/>
                <a:r>
                  <a:rPr lang="en-US" altLang="ko-KR" sz="1400" b="1" dirty="0" smtClean="0">
                    <a:solidFill>
                      <a:schemeClr val="bg1"/>
                    </a:solidFill>
                    <a:latin typeface="+mj-lt"/>
                    <a:ea typeface="Gulim" pitchFamily="34" charset="-127"/>
                  </a:rPr>
                  <a:t>Registration and prosecution</a:t>
                </a:r>
                <a:endParaRPr lang="en-US" altLang="ko-KR" sz="1400" b="1" dirty="0">
                  <a:solidFill>
                    <a:schemeClr val="bg1"/>
                  </a:solidFill>
                  <a:latin typeface="+mj-lt"/>
                  <a:ea typeface="Gulim" pitchFamily="34" charset="-127"/>
                </a:endParaRPr>
              </a:p>
            </p:txBody>
          </p:sp>
        </p:grpSp>
        <p:cxnSp>
          <p:nvCxnSpPr>
            <p:cNvPr id="32" name="Straight Arrow Connector 31"/>
            <p:cNvCxnSpPr>
              <a:endCxn id="24" idx="0"/>
            </p:cNvCxnSpPr>
            <p:nvPr/>
          </p:nvCxnSpPr>
          <p:spPr>
            <a:xfrm>
              <a:off x="1171824" y="764704"/>
              <a:ext cx="0" cy="385659"/>
            </a:xfrm>
            <a:prstGeom prst="straightConnector1">
              <a:avLst/>
            </a:prstGeom>
            <a:grpFill/>
            <a:ln>
              <a:noFill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Arrow Connector 38"/>
            <p:cNvCxnSpPr>
              <a:stCxn id="29" idx="4"/>
              <a:endCxn id="5" idx="0"/>
            </p:cNvCxnSpPr>
            <p:nvPr/>
          </p:nvCxnSpPr>
          <p:spPr>
            <a:xfrm>
              <a:off x="1171824" y="4619294"/>
              <a:ext cx="0" cy="381662"/>
            </a:xfrm>
            <a:prstGeom prst="straightConnector1">
              <a:avLst/>
            </a:prstGeom>
            <a:grpFill/>
            <a:ln>
              <a:noFill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Arrow Connector 39"/>
            <p:cNvCxnSpPr>
              <a:stCxn id="24" idx="4"/>
              <a:endCxn id="17" idx="0"/>
            </p:cNvCxnSpPr>
            <p:nvPr/>
          </p:nvCxnSpPr>
          <p:spPr>
            <a:xfrm>
              <a:off x="1171824" y="2066351"/>
              <a:ext cx="0" cy="354537"/>
            </a:xfrm>
            <a:prstGeom prst="straightConnector1">
              <a:avLst/>
            </a:prstGeom>
            <a:grpFill/>
            <a:ln>
              <a:noFill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Arrow Connector 40"/>
            <p:cNvCxnSpPr>
              <a:stCxn id="17" idx="4"/>
              <a:endCxn id="29" idx="0"/>
            </p:cNvCxnSpPr>
            <p:nvPr/>
          </p:nvCxnSpPr>
          <p:spPr>
            <a:xfrm>
              <a:off x="1171824" y="3336876"/>
              <a:ext cx="0" cy="366430"/>
            </a:xfrm>
            <a:prstGeom prst="straightConnector1">
              <a:avLst/>
            </a:prstGeom>
            <a:grpFill/>
            <a:ln>
              <a:noFill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52" name="Straight Arrow Connector 51"/>
          <p:cNvCxnSpPr>
            <a:stCxn id="24" idx="6"/>
          </p:cNvCxnSpPr>
          <p:nvPr/>
        </p:nvCxnSpPr>
        <p:spPr>
          <a:xfrm flipV="1">
            <a:off x="1835696" y="1205893"/>
            <a:ext cx="720080" cy="650824"/>
          </a:xfrm>
          <a:prstGeom prst="straightConnector1">
            <a:avLst/>
          </a:prstGeom>
          <a:ln>
            <a:solidFill>
              <a:schemeClr val="accent3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4"/>
          <p:cNvCxnSpPr>
            <a:stCxn id="17" idx="6"/>
          </p:cNvCxnSpPr>
          <p:nvPr/>
        </p:nvCxnSpPr>
        <p:spPr>
          <a:xfrm flipV="1">
            <a:off x="1835696" y="2314711"/>
            <a:ext cx="720080" cy="812531"/>
          </a:xfrm>
          <a:prstGeom prst="straightConnector1">
            <a:avLst/>
          </a:prstGeom>
          <a:ln>
            <a:solidFill>
              <a:schemeClr val="accent3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Arrow Connector 55"/>
          <p:cNvCxnSpPr>
            <a:stCxn id="24" idx="6"/>
          </p:cNvCxnSpPr>
          <p:nvPr/>
        </p:nvCxnSpPr>
        <p:spPr>
          <a:xfrm flipV="1">
            <a:off x="1835696" y="1772816"/>
            <a:ext cx="720080" cy="83901"/>
          </a:xfrm>
          <a:prstGeom prst="straightConnector1">
            <a:avLst/>
          </a:prstGeom>
          <a:ln>
            <a:solidFill>
              <a:schemeClr val="accent3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Arrow Connector 61"/>
          <p:cNvCxnSpPr>
            <a:stCxn id="17" idx="6"/>
          </p:cNvCxnSpPr>
          <p:nvPr/>
        </p:nvCxnSpPr>
        <p:spPr>
          <a:xfrm flipV="1">
            <a:off x="1835696" y="2720976"/>
            <a:ext cx="720080" cy="406266"/>
          </a:xfrm>
          <a:prstGeom prst="straightConnector1">
            <a:avLst/>
          </a:prstGeom>
          <a:ln>
            <a:solidFill>
              <a:schemeClr val="accent3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Arrow Connector 62"/>
          <p:cNvCxnSpPr>
            <a:stCxn id="29" idx="6"/>
          </p:cNvCxnSpPr>
          <p:nvPr/>
        </p:nvCxnSpPr>
        <p:spPr>
          <a:xfrm>
            <a:off x="1835696" y="4409660"/>
            <a:ext cx="720080" cy="102866"/>
          </a:xfrm>
          <a:prstGeom prst="straightConnector1">
            <a:avLst/>
          </a:prstGeom>
          <a:ln>
            <a:solidFill>
              <a:schemeClr val="accent3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Arrow Connector 63"/>
          <p:cNvCxnSpPr>
            <a:stCxn id="17" idx="6"/>
            <a:endCxn id="15" idx="1"/>
          </p:cNvCxnSpPr>
          <p:nvPr/>
        </p:nvCxnSpPr>
        <p:spPr>
          <a:xfrm>
            <a:off x="1835696" y="3127242"/>
            <a:ext cx="695052" cy="87768"/>
          </a:xfrm>
          <a:prstGeom prst="straightConnector1">
            <a:avLst/>
          </a:prstGeom>
          <a:ln>
            <a:solidFill>
              <a:schemeClr val="accent3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Arrow Connector 72"/>
          <p:cNvCxnSpPr>
            <a:stCxn id="29" idx="6"/>
          </p:cNvCxnSpPr>
          <p:nvPr/>
        </p:nvCxnSpPr>
        <p:spPr>
          <a:xfrm>
            <a:off x="1835696" y="4409660"/>
            <a:ext cx="720080" cy="839656"/>
          </a:xfrm>
          <a:prstGeom prst="straightConnector1">
            <a:avLst/>
          </a:prstGeom>
          <a:ln>
            <a:solidFill>
              <a:schemeClr val="accent3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Arrow Connector 75"/>
          <p:cNvCxnSpPr>
            <a:stCxn id="5" idx="6"/>
            <a:endCxn id="11" idx="1"/>
          </p:cNvCxnSpPr>
          <p:nvPr/>
        </p:nvCxnSpPr>
        <p:spPr>
          <a:xfrm>
            <a:off x="1835696" y="5707310"/>
            <a:ext cx="720080" cy="309623"/>
          </a:xfrm>
          <a:prstGeom prst="straightConnector1">
            <a:avLst/>
          </a:prstGeom>
          <a:ln>
            <a:solidFill>
              <a:schemeClr val="accent3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Arrow Connector 103"/>
          <p:cNvCxnSpPr>
            <a:stCxn id="17" idx="6"/>
          </p:cNvCxnSpPr>
          <p:nvPr/>
        </p:nvCxnSpPr>
        <p:spPr>
          <a:xfrm>
            <a:off x="1835696" y="3127242"/>
            <a:ext cx="720080" cy="641209"/>
          </a:xfrm>
          <a:prstGeom prst="straightConnector1">
            <a:avLst/>
          </a:prstGeom>
          <a:ln>
            <a:solidFill>
              <a:schemeClr val="accent3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58425355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5" grpId="0"/>
      <p:bldP spid="22" grpId="0"/>
      <p:bldP spid="27" grpId="0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44624"/>
            <a:ext cx="8534400" cy="523875"/>
          </a:xfrm>
        </p:spPr>
        <p:txBody>
          <a:bodyPr/>
          <a:lstStyle/>
          <a:p>
            <a:r>
              <a:rPr lang="en-GB" sz="2400" dirty="0" smtClean="0"/>
              <a:t>CRITICAL GAP: Data availability</a:t>
            </a:r>
            <a:endParaRPr lang="en-GB" sz="2400" dirty="0"/>
          </a:p>
        </p:txBody>
      </p:sp>
      <p:sp>
        <p:nvSpPr>
          <p:cNvPr id="101" name="TextBox 100"/>
          <p:cNvSpPr txBox="1"/>
          <p:nvPr/>
        </p:nvSpPr>
        <p:spPr>
          <a:xfrm>
            <a:off x="327561" y="692696"/>
            <a:ext cx="5036527" cy="67710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smtClean="0"/>
              <a:t>Many organisations and agencies hold data which is critical to assess the scale of wildlife trade, and to target interventions.</a:t>
            </a:r>
          </a:p>
          <a:p>
            <a:endParaRPr lang="en-GB" dirty="0"/>
          </a:p>
          <a:p>
            <a:r>
              <a:rPr lang="en-GB" sz="2000" b="1" dirty="0" smtClean="0">
                <a:solidFill>
                  <a:srgbClr val="FF0000"/>
                </a:solidFill>
              </a:rPr>
              <a:t>BUT</a:t>
            </a:r>
            <a:endParaRPr lang="en-GB" b="1" dirty="0" smtClean="0">
              <a:solidFill>
                <a:srgbClr val="FF0000"/>
              </a:solidFill>
            </a:endParaRPr>
          </a:p>
          <a:p>
            <a:pPr marL="342900" indent="-342900">
              <a:buFont typeface="+mj-lt"/>
              <a:buAutoNum type="arabicPeriod"/>
            </a:pPr>
            <a:endParaRPr lang="en-GB" dirty="0"/>
          </a:p>
          <a:p>
            <a:pPr marL="342900" indent="-342900">
              <a:buFont typeface="+mj-lt"/>
              <a:buAutoNum type="arabicPeriod"/>
            </a:pPr>
            <a:r>
              <a:rPr lang="en-GB" dirty="0" smtClean="0"/>
              <a:t>Data is collected in different formats, for different purposes (e.g. prosecution vs. monitoring)</a:t>
            </a:r>
          </a:p>
          <a:p>
            <a:pPr marL="342900" indent="-342900">
              <a:buFont typeface="+mj-lt"/>
              <a:buAutoNum type="arabicPeriod"/>
            </a:pPr>
            <a:endParaRPr lang="en-GB" dirty="0" smtClean="0"/>
          </a:p>
          <a:p>
            <a:pPr marL="342900" indent="-342900">
              <a:buFont typeface="+mj-lt"/>
              <a:buAutoNum type="arabicPeriod"/>
            </a:pPr>
            <a:r>
              <a:rPr lang="en-GB" dirty="0" smtClean="0"/>
              <a:t>There are numerous databases – which cannot talk to each other, and are not well utilised.</a:t>
            </a:r>
          </a:p>
          <a:p>
            <a:pPr marL="342900" indent="-342900">
              <a:buFont typeface="+mj-lt"/>
              <a:buAutoNum type="arabicPeriod"/>
            </a:pPr>
            <a:endParaRPr lang="en-GB" dirty="0" smtClean="0"/>
          </a:p>
          <a:p>
            <a:pPr marL="342900" indent="-342900">
              <a:buFont typeface="+mj-lt"/>
              <a:buAutoNum type="arabicPeriod"/>
            </a:pPr>
            <a:r>
              <a:rPr lang="en-GB" dirty="0" smtClean="0"/>
              <a:t>Data sharing agreements exist, but they are not well implemented or enforced.</a:t>
            </a:r>
          </a:p>
          <a:p>
            <a:pPr marL="342900" indent="-342900">
              <a:buFont typeface="+mj-lt"/>
              <a:buAutoNum type="arabicPeriod"/>
            </a:pPr>
            <a:endParaRPr lang="en-GB" dirty="0" smtClean="0"/>
          </a:p>
          <a:p>
            <a:pPr marL="342900" indent="-342900">
              <a:buFont typeface="+mj-lt"/>
              <a:buAutoNum type="arabicPeriod"/>
            </a:pPr>
            <a:r>
              <a:rPr lang="en-GB" dirty="0" smtClean="0"/>
              <a:t>Data is not shared between departments in the same ministry, or between field offices and Jakarta.</a:t>
            </a:r>
          </a:p>
          <a:p>
            <a:endParaRPr lang="en-GB" dirty="0" smtClean="0"/>
          </a:p>
          <a:p>
            <a:pPr marL="342900" indent="-342900">
              <a:buFont typeface="+mj-lt"/>
              <a:buAutoNum type="arabicPeriod"/>
            </a:pPr>
            <a:endParaRPr lang="en-GB" dirty="0" smtClean="0"/>
          </a:p>
          <a:p>
            <a:pPr marL="342900" indent="-342900">
              <a:buFont typeface="+mj-lt"/>
              <a:buAutoNum type="arabicPeriod"/>
            </a:pPr>
            <a:endParaRPr lang="en-GB" dirty="0" smtClean="0"/>
          </a:p>
          <a:p>
            <a:pPr marL="342900" indent="-342900">
              <a:buFont typeface="+mj-lt"/>
              <a:buAutoNum type="arabicPeriod"/>
            </a:pPr>
            <a:endParaRPr lang="en-GB" dirty="0" smtClean="0"/>
          </a:p>
          <a:p>
            <a:pPr marL="342900" indent="-342900">
              <a:buFont typeface="+mj-lt"/>
              <a:buAutoNum type="arabicPeriod"/>
            </a:pPr>
            <a:endParaRPr lang="en-GB" dirty="0"/>
          </a:p>
        </p:txBody>
      </p:sp>
      <p:grpSp>
        <p:nvGrpSpPr>
          <p:cNvPr id="118" name="Group 117"/>
          <p:cNvGrpSpPr/>
          <p:nvPr/>
        </p:nvGrpSpPr>
        <p:grpSpPr>
          <a:xfrm>
            <a:off x="5932175" y="1124744"/>
            <a:ext cx="2744281" cy="3117334"/>
            <a:chOff x="5372846" y="1256393"/>
            <a:chExt cx="3519634" cy="4188831"/>
          </a:xfrm>
          <a:solidFill>
            <a:schemeClr val="accent3">
              <a:lumMod val="50000"/>
            </a:schemeClr>
          </a:solidFill>
        </p:grpSpPr>
        <p:grpSp>
          <p:nvGrpSpPr>
            <p:cNvPr id="30" name="Group 10"/>
            <p:cNvGrpSpPr>
              <a:grpSpLocks/>
            </p:cNvGrpSpPr>
            <p:nvPr/>
          </p:nvGrpSpPr>
          <p:grpSpPr bwMode="auto">
            <a:xfrm>
              <a:off x="5394101" y="3447528"/>
              <a:ext cx="1552575" cy="915989"/>
              <a:chOff x="2400" y="1968"/>
              <a:chExt cx="960" cy="960"/>
            </a:xfrm>
            <a:grpFill/>
          </p:grpSpPr>
          <p:sp>
            <p:nvSpPr>
              <p:cNvPr id="46" name="Oval 11"/>
              <p:cNvSpPr>
                <a:spLocks noChangeArrowheads="1"/>
              </p:cNvSpPr>
              <p:nvPr>
                <p:custDataLst>
                  <p:tags r:id="rId14"/>
                </p:custDataLst>
              </p:nvPr>
            </p:nvSpPr>
            <p:spPr bwMode="blackWhite">
              <a:xfrm>
                <a:off x="2400" y="1968"/>
                <a:ext cx="960" cy="960"/>
              </a:xfrm>
              <a:prstGeom prst="rect">
                <a:avLst/>
              </a:prstGeom>
              <a:grpFill/>
              <a:ln w="3175">
                <a:noFill/>
                <a:round/>
                <a:headEnd/>
                <a:tailEnd/>
              </a:ln>
              <a:effectLst>
                <a:outerShdw dist="25400" dir="5400000" algn="ctr" rotWithShape="0">
                  <a:srgbClr val="000000"/>
                </a:outerShdw>
              </a:effectLst>
            </p:spPr>
            <p:txBody>
              <a:bodyPr wrap="none"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i="0" u="none" strike="noStrike" kern="0" cap="none" spc="0" normalizeH="0" baseline="0" noProof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lt"/>
                  <a:ea typeface="-윤고딕130" pitchFamily="18" charset="-127"/>
                </a:endParaRPr>
              </a:p>
            </p:txBody>
          </p:sp>
          <p:sp>
            <p:nvSpPr>
              <p:cNvPr id="47" name="Rectangle 12"/>
              <p:cNvSpPr>
                <a:spLocks noChangeArrowheads="1"/>
              </p:cNvSpPr>
              <p:nvPr>
                <p:custDataLst>
                  <p:tags r:id="rId15"/>
                </p:custDataLst>
              </p:nvPr>
            </p:nvSpPr>
            <p:spPr bwMode="blackWhite">
              <a:xfrm>
                <a:off x="2440" y="2008"/>
                <a:ext cx="880" cy="880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810" tIns="0" rIns="3810" bIns="0" anchor="ctr"/>
              <a:lstStyle>
                <a:lvl1pPr defTabSz="895350">
                  <a:buSzPct val="120000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1pPr>
                <a:lvl2pPr marL="144463" indent="-142875" defTabSz="895350">
                  <a:buSzPct val="120000"/>
                  <a:buChar char="•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2pPr>
                <a:lvl3pPr marL="295275" indent="-149225" defTabSz="895350"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3pPr>
                <a:lvl4pPr marL="431800" indent="-134938" defTabSz="895350">
                  <a:buSzPct val="89000"/>
                  <a:buChar char="•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4pPr>
                <a:lvl5pPr marL="582613" indent="-149225" defTabSz="895350"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5pPr>
                <a:lvl6pPr marL="1039813" indent="-149225" defTabSz="89535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6pPr>
                <a:lvl7pPr marL="1497013" indent="-149225" defTabSz="89535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7pPr>
                <a:lvl8pPr marL="1954213" indent="-149225" defTabSz="89535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8pPr>
                <a:lvl9pPr marL="2411413" indent="-149225" defTabSz="89535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9pPr>
              </a:lstStyle>
              <a:p>
                <a:pPr marL="0" marR="0" lvl="0" indent="0" algn="ctr" defTabSz="89535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Pct val="120000"/>
                  <a:buFontTx/>
                  <a:buNone/>
                  <a:tabLst/>
                  <a:defRPr/>
                </a:pPr>
                <a:r>
                  <a:rPr kumimoji="0" lang="en-US" altLang="ko-KR" sz="1600" i="0" u="none" strike="noStrike" kern="0" cap="none" spc="0" normalizeH="0" baseline="0" noProof="0" dirty="0" smtClean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j-lt"/>
                    <a:ea typeface="Gulim" pitchFamily="34" charset="-127"/>
                  </a:rPr>
                  <a:t>QUARANTINE</a:t>
                </a:r>
              </a:p>
            </p:txBody>
          </p:sp>
        </p:grpSp>
        <p:grpSp>
          <p:nvGrpSpPr>
            <p:cNvPr id="32" name="Group 16"/>
            <p:cNvGrpSpPr>
              <a:grpSpLocks/>
            </p:cNvGrpSpPr>
            <p:nvPr/>
          </p:nvGrpSpPr>
          <p:grpSpPr bwMode="auto">
            <a:xfrm>
              <a:off x="5394101" y="4527648"/>
              <a:ext cx="1552575" cy="917576"/>
              <a:chOff x="2400" y="1983"/>
              <a:chExt cx="960" cy="960"/>
            </a:xfrm>
            <a:grpFill/>
          </p:grpSpPr>
          <p:sp>
            <p:nvSpPr>
              <p:cNvPr id="42" name="Oval 17"/>
              <p:cNvSpPr>
                <a:spLocks noChangeArrowheads="1"/>
              </p:cNvSpPr>
              <p:nvPr>
                <p:custDataLst>
                  <p:tags r:id="rId12"/>
                </p:custDataLst>
              </p:nvPr>
            </p:nvSpPr>
            <p:spPr bwMode="blackWhite">
              <a:xfrm>
                <a:off x="2400" y="1983"/>
                <a:ext cx="960" cy="960"/>
              </a:xfrm>
              <a:prstGeom prst="rect">
                <a:avLst/>
              </a:prstGeom>
              <a:grpFill/>
              <a:ln w="3175">
                <a:noFill/>
                <a:round/>
                <a:headEnd/>
                <a:tailEnd/>
              </a:ln>
              <a:effectLst>
                <a:outerShdw dist="25400" dir="5400000" algn="ctr" rotWithShape="0">
                  <a:srgbClr val="000000"/>
                </a:outerShdw>
              </a:effectLst>
            </p:spPr>
            <p:txBody>
              <a:bodyPr wrap="none"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i="0" u="none" strike="noStrike" kern="0" cap="none" spc="0" normalizeH="0" baseline="0" noProof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lt"/>
                  <a:ea typeface="-윤고딕130" pitchFamily="18" charset="-127"/>
                </a:endParaRPr>
              </a:p>
            </p:txBody>
          </p:sp>
          <p:sp>
            <p:nvSpPr>
              <p:cNvPr id="43" name="Rectangle 18"/>
              <p:cNvSpPr>
                <a:spLocks noChangeArrowheads="1"/>
              </p:cNvSpPr>
              <p:nvPr>
                <p:custDataLst>
                  <p:tags r:id="rId13"/>
                </p:custDataLst>
              </p:nvPr>
            </p:nvSpPr>
            <p:spPr bwMode="blackWhite">
              <a:xfrm>
                <a:off x="2440" y="2008"/>
                <a:ext cx="880" cy="880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810" tIns="0" rIns="3810" bIns="0" anchor="ctr"/>
              <a:lstStyle>
                <a:lvl1pPr defTabSz="895350">
                  <a:buSzPct val="120000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1pPr>
                <a:lvl2pPr marL="144463" indent="-142875" defTabSz="895350">
                  <a:buSzPct val="120000"/>
                  <a:buChar char="•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2pPr>
                <a:lvl3pPr marL="295275" indent="-149225" defTabSz="895350"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3pPr>
                <a:lvl4pPr marL="431800" indent="-134938" defTabSz="895350">
                  <a:buSzPct val="89000"/>
                  <a:buChar char="•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4pPr>
                <a:lvl5pPr marL="582613" indent="-149225" defTabSz="895350"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5pPr>
                <a:lvl6pPr marL="1039813" indent="-149225" defTabSz="89535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6pPr>
                <a:lvl7pPr marL="1497013" indent="-149225" defTabSz="89535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7pPr>
                <a:lvl8pPr marL="1954213" indent="-149225" defTabSz="89535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8pPr>
                <a:lvl9pPr marL="2411413" indent="-149225" defTabSz="89535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9pPr>
              </a:lstStyle>
              <a:p>
                <a:pPr marL="0" marR="0" lvl="0" indent="0" algn="ctr" defTabSz="89535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Pct val="120000"/>
                  <a:buFontTx/>
                  <a:buNone/>
                  <a:tabLst/>
                  <a:defRPr/>
                </a:pPr>
                <a:r>
                  <a:rPr kumimoji="0" lang="en-US" altLang="ko-KR" sz="1600" i="0" u="none" strike="noStrike" kern="0" cap="none" spc="0" normalizeH="0" baseline="0" noProof="0" dirty="0" smtClean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j-lt"/>
                    <a:ea typeface="Gulim" pitchFamily="34" charset="-127"/>
                  </a:rPr>
                  <a:t>CUSTOMS</a:t>
                </a:r>
              </a:p>
            </p:txBody>
          </p:sp>
        </p:grpSp>
        <p:grpSp>
          <p:nvGrpSpPr>
            <p:cNvPr id="33" name="Group 19"/>
            <p:cNvGrpSpPr>
              <a:grpSpLocks/>
            </p:cNvGrpSpPr>
            <p:nvPr/>
          </p:nvGrpSpPr>
          <p:grpSpPr bwMode="auto">
            <a:xfrm>
              <a:off x="7338317" y="2367408"/>
              <a:ext cx="1554163" cy="915989"/>
              <a:chOff x="2400" y="1968"/>
              <a:chExt cx="960" cy="960"/>
            </a:xfrm>
            <a:grpFill/>
          </p:grpSpPr>
          <p:sp>
            <p:nvSpPr>
              <p:cNvPr id="40" name="Oval 20"/>
              <p:cNvSpPr>
                <a:spLocks noChangeArrowheads="1"/>
              </p:cNvSpPr>
              <p:nvPr>
                <p:custDataLst>
                  <p:tags r:id="rId10"/>
                </p:custDataLst>
              </p:nvPr>
            </p:nvSpPr>
            <p:spPr bwMode="blackWhite">
              <a:xfrm>
                <a:off x="2400" y="1968"/>
                <a:ext cx="960" cy="960"/>
              </a:xfrm>
              <a:prstGeom prst="rect">
                <a:avLst/>
              </a:prstGeom>
              <a:grpFill/>
              <a:ln w="3175">
                <a:noFill/>
                <a:round/>
                <a:headEnd/>
                <a:tailEnd/>
              </a:ln>
              <a:effectLst>
                <a:outerShdw dist="25400" dir="5400000" algn="ctr" rotWithShape="0">
                  <a:srgbClr val="000000"/>
                </a:outerShdw>
              </a:effectLst>
            </p:spPr>
            <p:txBody>
              <a:bodyPr wrap="none"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i="0" u="none" strike="noStrike" kern="0" cap="none" spc="0" normalizeH="0" baseline="0" noProof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lt"/>
                  <a:ea typeface="-윤고딕130" pitchFamily="18" charset="-127"/>
                </a:endParaRPr>
              </a:p>
            </p:txBody>
          </p:sp>
          <p:sp>
            <p:nvSpPr>
              <p:cNvPr id="41" name="Rectangle 21"/>
              <p:cNvSpPr>
                <a:spLocks noChangeArrowheads="1"/>
              </p:cNvSpPr>
              <p:nvPr>
                <p:custDataLst>
                  <p:tags r:id="rId11"/>
                </p:custDataLst>
              </p:nvPr>
            </p:nvSpPr>
            <p:spPr bwMode="blackWhite">
              <a:xfrm>
                <a:off x="2440" y="2008"/>
                <a:ext cx="880" cy="880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810" tIns="0" rIns="3810" bIns="0" anchor="ctr"/>
              <a:lstStyle>
                <a:lvl1pPr defTabSz="895350">
                  <a:buSzPct val="120000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1pPr>
                <a:lvl2pPr marL="144463" indent="-142875" defTabSz="895350">
                  <a:buSzPct val="120000"/>
                  <a:buChar char="•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2pPr>
                <a:lvl3pPr marL="295275" indent="-149225" defTabSz="895350"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3pPr>
                <a:lvl4pPr marL="431800" indent="-134938" defTabSz="895350">
                  <a:buSzPct val="89000"/>
                  <a:buChar char="•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4pPr>
                <a:lvl5pPr marL="582613" indent="-149225" defTabSz="895350"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5pPr>
                <a:lvl6pPr marL="1039813" indent="-149225" defTabSz="89535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6pPr>
                <a:lvl7pPr marL="1497013" indent="-149225" defTabSz="89535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7pPr>
                <a:lvl8pPr marL="1954213" indent="-149225" defTabSz="89535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8pPr>
                <a:lvl9pPr marL="2411413" indent="-149225" defTabSz="89535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9pPr>
              </a:lstStyle>
              <a:p>
                <a:pPr marL="0" marR="0" lvl="0" indent="0" algn="ctr" defTabSz="89535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Pct val="120000"/>
                  <a:buFontTx/>
                  <a:buNone/>
                  <a:tabLst/>
                  <a:defRPr/>
                </a:pPr>
                <a:r>
                  <a:rPr kumimoji="0" lang="en-US" altLang="ko-KR" sz="1600" i="0" u="none" strike="noStrike" kern="0" cap="none" spc="0" normalizeH="0" baseline="0" noProof="0" dirty="0" smtClean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j-lt"/>
                    <a:ea typeface="Gulim" pitchFamily="34" charset="-127"/>
                  </a:rPr>
                  <a:t>BKSDA</a:t>
                </a:r>
              </a:p>
            </p:txBody>
          </p:sp>
        </p:grpSp>
        <p:grpSp>
          <p:nvGrpSpPr>
            <p:cNvPr id="54" name="Group 53"/>
            <p:cNvGrpSpPr/>
            <p:nvPr/>
          </p:nvGrpSpPr>
          <p:grpSpPr>
            <a:xfrm>
              <a:off x="5372846" y="1256394"/>
              <a:ext cx="1552575" cy="915988"/>
              <a:chOff x="6424614" y="1168903"/>
              <a:chExt cx="1552575" cy="915988"/>
            </a:xfrm>
            <a:grpFill/>
          </p:grpSpPr>
          <p:sp>
            <p:nvSpPr>
              <p:cNvPr id="55" name="Oval 14"/>
              <p:cNvSpPr>
                <a:spLocks noChangeArrowheads="1"/>
              </p:cNvSpPr>
              <p:nvPr>
                <p:custDataLst>
                  <p:tags r:id="rId8"/>
                </p:custDataLst>
              </p:nvPr>
            </p:nvSpPr>
            <p:spPr bwMode="blackWhite">
              <a:xfrm>
                <a:off x="6424614" y="1168903"/>
                <a:ext cx="1552575" cy="915988"/>
              </a:xfrm>
              <a:prstGeom prst="rect">
                <a:avLst/>
              </a:prstGeom>
              <a:grpFill/>
              <a:ln w="3175">
                <a:noFill/>
                <a:round/>
                <a:headEnd/>
                <a:tailEnd/>
              </a:ln>
              <a:effectLst>
                <a:outerShdw dist="25400" dir="5400000" algn="ctr" rotWithShape="0">
                  <a:srgbClr val="000000"/>
                </a:outerShdw>
              </a:effectLst>
            </p:spPr>
            <p:txBody>
              <a:bodyPr wrap="none" anchor="ctr"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i="0" u="none" strike="noStrike" kern="0" cap="none" spc="0" normalizeH="0" baseline="0" noProof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lt"/>
                  <a:ea typeface="-윤고딕130" pitchFamily="18" charset="-127"/>
                </a:endParaRPr>
              </a:p>
            </p:txBody>
          </p:sp>
          <p:sp>
            <p:nvSpPr>
              <p:cNvPr id="56" name="Rectangle 15"/>
              <p:cNvSpPr>
                <a:spLocks noChangeArrowheads="1"/>
              </p:cNvSpPr>
              <p:nvPr>
                <p:custDataLst>
                  <p:tags r:id="rId9"/>
                </p:custDataLst>
              </p:nvPr>
            </p:nvSpPr>
            <p:spPr bwMode="blackWhite">
              <a:xfrm>
                <a:off x="6502640" y="1245235"/>
                <a:ext cx="1423194" cy="839656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810" tIns="0" rIns="3810" bIns="0" anchor="ctr"/>
              <a:lstStyle>
                <a:lvl1pPr defTabSz="895350">
                  <a:buSzPct val="120000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1pPr>
                <a:lvl2pPr marL="144463" indent="-142875" defTabSz="895350">
                  <a:buSzPct val="120000"/>
                  <a:buChar char="•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2pPr>
                <a:lvl3pPr marL="295275" indent="-149225" defTabSz="895350"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3pPr>
                <a:lvl4pPr marL="431800" indent="-134938" defTabSz="895350">
                  <a:buSzPct val="89000"/>
                  <a:buChar char="•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4pPr>
                <a:lvl5pPr marL="582613" indent="-149225" defTabSz="895350"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5pPr>
                <a:lvl6pPr marL="1039813" indent="-149225" defTabSz="89535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6pPr>
                <a:lvl7pPr marL="1497013" indent="-149225" defTabSz="89535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7pPr>
                <a:lvl8pPr marL="1954213" indent="-149225" defTabSz="89535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8pPr>
                <a:lvl9pPr marL="2411413" indent="-149225" defTabSz="89535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9pPr>
              </a:lstStyle>
              <a:p>
                <a:pPr marL="0" marR="0" lvl="0" indent="0" algn="ctr" defTabSz="89535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Pct val="120000"/>
                  <a:buFontTx/>
                  <a:buNone/>
                  <a:tabLst/>
                  <a:defRPr/>
                </a:pPr>
                <a:r>
                  <a:rPr kumimoji="0" lang="en-US" altLang="ko-KR" sz="1600" i="0" u="none" strike="noStrike" kern="0" cap="none" spc="0" normalizeH="0" baseline="0" noProof="0" dirty="0" smtClean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j-lt"/>
                    <a:ea typeface="Gulim" pitchFamily="34" charset="-127"/>
                  </a:rPr>
                  <a:t>NGOS</a:t>
                </a:r>
              </a:p>
            </p:txBody>
          </p:sp>
        </p:grpSp>
        <p:sp>
          <p:nvSpPr>
            <p:cNvPr id="108" name="Oval 8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blackWhite">
            <a:xfrm>
              <a:off x="7331899" y="1256393"/>
              <a:ext cx="1552575" cy="915989"/>
            </a:xfrm>
            <a:prstGeom prst="rect">
              <a:avLst/>
            </a:prstGeom>
            <a:grpFill/>
            <a:ln w="3175">
              <a:noFill/>
              <a:round/>
              <a:headEnd/>
              <a:tailEnd/>
            </a:ln>
            <a:effectLst>
              <a:outerShdw dist="25400" dir="5400000" algn="ctr" rotWithShape="0">
                <a:srgbClr val="000000"/>
              </a:outerShdw>
            </a:effec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lt"/>
                  <a:ea typeface="-윤고딕130" pitchFamily="18" charset="-127"/>
                </a:rPr>
                <a:t>MMAF</a:t>
              </a:r>
            </a:p>
          </p:txBody>
        </p:sp>
        <p:grpSp>
          <p:nvGrpSpPr>
            <p:cNvPr id="109" name="Group 10"/>
            <p:cNvGrpSpPr>
              <a:grpSpLocks/>
            </p:cNvGrpSpPr>
            <p:nvPr/>
          </p:nvGrpSpPr>
          <p:grpSpPr bwMode="auto">
            <a:xfrm>
              <a:off x="7338317" y="4527648"/>
              <a:ext cx="1552575" cy="915989"/>
              <a:chOff x="2400" y="1968"/>
              <a:chExt cx="960" cy="960"/>
            </a:xfrm>
            <a:grpFill/>
          </p:grpSpPr>
          <p:sp>
            <p:nvSpPr>
              <p:cNvPr id="110" name="Oval 11"/>
              <p:cNvSpPr>
                <a:spLocks noChangeArrowheads="1"/>
              </p:cNvSpPr>
              <p:nvPr>
                <p:custDataLst>
                  <p:tags r:id="rId6"/>
                </p:custDataLst>
              </p:nvPr>
            </p:nvSpPr>
            <p:spPr bwMode="blackWhite">
              <a:xfrm>
                <a:off x="2400" y="1968"/>
                <a:ext cx="960" cy="960"/>
              </a:xfrm>
              <a:prstGeom prst="rect">
                <a:avLst/>
              </a:prstGeom>
              <a:grpFill/>
              <a:ln w="3175">
                <a:noFill/>
                <a:round/>
                <a:headEnd/>
                <a:tailEnd/>
              </a:ln>
              <a:effectLst>
                <a:outerShdw dist="25400" dir="5400000" algn="ctr" rotWithShape="0">
                  <a:srgbClr val="000000"/>
                </a:outerShdw>
              </a:effectLst>
            </p:spPr>
            <p:txBody>
              <a:bodyPr wrap="none"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i="0" u="none" strike="noStrike" kern="0" cap="none" spc="0" normalizeH="0" baseline="0" noProof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lt"/>
                  <a:ea typeface="-윤고딕130" pitchFamily="18" charset="-127"/>
                </a:endParaRPr>
              </a:p>
            </p:txBody>
          </p:sp>
          <p:sp>
            <p:nvSpPr>
              <p:cNvPr id="111" name="Rectangle 12"/>
              <p:cNvSpPr>
                <a:spLocks noChangeArrowheads="1"/>
              </p:cNvSpPr>
              <p:nvPr>
                <p:custDataLst>
                  <p:tags r:id="rId7"/>
                </p:custDataLst>
              </p:nvPr>
            </p:nvSpPr>
            <p:spPr bwMode="blackWhite">
              <a:xfrm>
                <a:off x="2440" y="2008"/>
                <a:ext cx="880" cy="880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810" tIns="0" rIns="3810" bIns="0" anchor="ctr"/>
              <a:lstStyle>
                <a:lvl1pPr defTabSz="895350">
                  <a:buSzPct val="120000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1pPr>
                <a:lvl2pPr marL="144463" indent="-142875" defTabSz="895350">
                  <a:buSzPct val="120000"/>
                  <a:buChar char="•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2pPr>
                <a:lvl3pPr marL="295275" indent="-149225" defTabSz="895350"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3pPr>
                <a:lvl4pPr marL="431800" indent="-134938" defTabSz="895350">
                  <a:buSzPct val="89000"/>
                  <a:buChar char="•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4pPr>
                <a:lvl5pPr marL="582613" indent="-149225" defTabSz="895350"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5pPr>
                <a:lvl6pPr marL="1039813" indent="-149225" defTabSz="89535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6pPr>
                <a:lvl7pPr marL="1497013" indent="-149225" defTabSz="89535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7pPr>
                <a:lvl8pPr marL="1954213" indent="-149225" defTabSz="89535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8pPr>
                <a:lvl9pPr marL="2411413" indent="-149225" defTabSz="89535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9pPr>
              </a:lstStyle>
              <a:p>
                <a:pPr marL="0" marR="0" lvl="0" indent="0" algn="ctr" defTabSz="89535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Pct val="120000"/>
                  <a:buFontTx/>
                  <a:buNone/>
                  <a:tabLst/>
                  <a:defRPr/>
                </a:pPr>
                <a:r>
                  <a:rPr lang="en-US" altLang="ko-KR" kern="0" dirty="0" smtClean="0">
                    <a:solidFill>
                      <a:schemeClr val="bg1"/>
                    </a:solidFill>
                    <a:latin typeface="+mj-lt"/>
                    <a:ea typeface="Gulim" pitchFamily="34" charset="-127"/>
                  </a:rPr>
                  <a:t>OTHER MINISTRIES</a:t>
                </a:r>
                <a:endParaRPr kumimoji="0" lang="en-US" altLang="ko-KR" sz="160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lt"/>
                  <a:ea typeface="Gulim" pitchFamily="34" charset="-127"/>
                </a:endParaRPr>
              </a:p>
            </p:txBody>
          </p:sp>
        </p:grpSp>
        <p:grpSp>
          <p:nvGrpSpPr>
            <p:cNvPr id="112" name="Group 10"/>
            <p:cNvGrpSpPr>
              <a:grpSpLocks/>
            </p:cNvGrpSpPr>
            <p:nvPr/>
          </p:nvGrpSpPr>
          <p:grpSpPr bwMode="auto">
            <a:xfrm>
              <a:off x="5404097" y="2359181"/>
              <a:ext cx="1552575" cy="915989"/>
              <a:chOff x="2400" y="1968"/>
              <a:chExt cx="960" cy="960"/>
            </a:xfrm>
            <a:grpFill/>
          </p:grpSpPr>
          <p:sp>
            <p:nvSpPr>
              <p:cNvPr id="113" name="Oval 11"/>
              <p:cNvSpPr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blackWhite">
              <a:xfrm>
                <a:off x="2400" y="1968"/>
                <a:ext cx="960" cy="960"/>
              </a:xfrm>
              <a:prstGeom prst="rect">
                <a:avLst/>
              </a:prstGeom>
              <a:grpFill/>
              <a:ln w="3175">
                <a:noFill/>
                <a:round/>
                <a:headEnd/>
                <a:tailEnd/>
              </a:ln>
              <a:effectLst>
                <a:outerShdw dist="25400" dir="5400000" algn="ctr" rotWithShape="0">
                  <a:srgbClr val="000000"/>
                </a:outerShdw>
              </a:effectLst>
            </p:spPr>
            <p:txBody>
              <a:bodyPr wrap="none"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i="0" u="none" strike="noStrike" kern="0" cap="none" spc="0" normalizeH="0" baseline="0" noProof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lt"/>
                  <a:ea typeface="-윤고딕130" pitchFamily="18" charset="-127"/>
                </a:endParaRPr>
              </a:p>
            </p:txBody>
          </p:sp>
          <p:sp>
            <p:nvSpPr>
              <p:cNvPr id="114" name="Rectangle 12"/>
              <p:cNvSpPr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blackWhite">
              <a:xfrm>
                <a:off x="2440" y="2008"/>
                <a:ext cx="880" cy="880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810" tIns="0" rIns="3810" bIns="0" anchor="ctr"/>
              <a:lstStyle>
                <a:lvl1pPr defTabSz="895350">
                  <a:buSzPct val="120000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1pPr>
                <a:lvl2pPr marL="144463" indent="-142875" defTabSz="895350">
                  <a:buSzPct val="120000"/>
                  <a:buChar char="•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2pPr>
                <a:lvl3pPr marL="295275" indent="-149225" defTabSz="895350"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3pPr>
                <a:lvl4pPr marL="431800" indent="-134938" defTabSz="895350">
                  <a:buSzPct val="89000"/>
                  <a:buChar char="•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4pPr>
                <a:lvl5pPr marL="582613" indent="-149225" defTabSz="895350"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5pPr>
                <a:lvl6pPr marL="1039813" indent="-149225" defTabSz="89535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6pPr>
                <a:lvl7pPr marL="1497013" indent="-149225" defTabSz="89535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7pPr>
                <a:lvl8pPr marL="1954213" indent="-149225" defTabSz="89535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8pPr>
                <a:lvl9pPr marL="2411413" indent="-149225" defTabSz="89535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9pPr>
              </a:lstStyle>
              <a:p>
                <a:pPr marL="0" marR="0" lvl="0" indent="0" algn="ctr" defTabSz="89535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Pct val="120000"/>
                  <a:buFontTx/>
                  <a:buNone/>
                  <a:tabLst/>
                  <a:defRPr/>
                </a:pPr>
                <a:r>
                  <a:rPr lang="en-US" altLang="ko-KR" kern="0" dirty="0" smtClean="0">
                    <a:solidFill>
                      <a:schemeClr val="bg1"/>
                    </a:solidFill>
                    <a:latin typeface="+mj-lt"/>
                    <a:ea typeface="Gulim" pitchFamily="34" charset="-127"/>
                  </a:rPr>
                  <a:t>CIVIL SOCIETY</a:t>
                </a:r>
                <a:endParaRPr kumimoji="0" lang="en-US" altLang="ko-KR" sz="160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lt"/>
                  <a:ea typeface="Gulim" pitchFamily="34" charset="-127"/>
                </a:endParaRPr>
              </a:p>
            </p:txBody>
          </p:sp>
        </p:grpSp>
        <p:grpSp>
          <p:nvGrpSpPr>
            <p:cNvPr id="115" name="Group 10"/>
            <p:cNvGrpSpPr>
              <a:grpSpLocks/>
            </p:cNvGrpSpPr>
            <p:nvPr/>
          </p:nvGrpSpPr>
          <p:grpSpPr bwMode="auto">
            <a:xfrm>
              <a:off x="7338317" y="3447528"/>
              <a:ext cx="1552575" cy="915989"/>
              <a:chOff x="2400" y="1968"/>
              <a:chExt cx="960" cy="960"/>
            </a:xfrm>
            <a:grpFill/>
          </p:grpSpPr>
          <p:sp>
            <p:nvSpPr>
              <p:cNvPr id="116" name="Oval 11"/>
              <p:cNvSpPr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blackWhite">
              <a:xfrm>
                <a:off x="2400" y="1968"/>
                <a:ext cx="960" cy="960"/>
              </a:xfrm>
              <a:prstGeom prst="rect">
                <a:avLst/>
              </a:prstGeom>
              <a:grpFill/>
              <a:ln w="3175">
                <a:noFill/>
                <a:round/>
                <a:headEnd/>
                <a:tailEnd/>
              </a:ln>
              <a:effectLst>
                <a:outerShdw dist="25400" dir="5400000" algn="ctr" rotWithShape="0">
                  <a:srgbClr val="000000"/>
                </a:outerShdw>
              </a:effectLst>
            </p:spPr>
            <p:txBody>
              <a:bodyPr wrap="none"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i="0" u="none" strike="noStrike" kern="0" cap="none" spc="0" normalizeH="0" baseline="0" noProof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lt"/>
                  <a:ea typeface="-윤고딕130" pitchFamily="18" charset="-127"/>
                </a:endParaRPr>
              </a:p>
            </p:txBody>
          </p:sp>
          <p:sp>
            <p:nvSpPr>
              <p:cNvPr id="117" name="Rectangle 12"/>
              <p:cNvSpPr>
                <a:spLocks noChangeArrowheads="1"/>
              </p:cNvSpPr>
              <p:nvPr>
                <p:custDataLst>
                  <p:tags r:id="rId3"/>
                </p:custDataLst>
              </p:nvPr>
            </p:nvSpPr>
            <p:spPr bwMode="blackWhite">
              <a:xfrm>
                <a:off x="2440" y="2008"/>
                <a:ext cx="880" cy="880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810" tIns="0" rIns="3810" bIns="0" anchor="ctr"/>
              <a:lstStyle>
                <a:lvl1pPr defTabSz="895350">
                  <a:buSzPct val="120000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1pPr>
                <a:lvl2pPr marL="144463" indent="-142875" defTabSz="895350">
                  <a:buSzPct val="120000"/>
                  <a:buChar char="•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2pPr>
                <a:lvl3pPr marL="295275" indent="-149225" defTabSz="895350"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3pPr>
                <a:lvl4pPr marL="431800" indent="-134938" defTabSz="895350">
                  <a:buSzPct val="89000"/>
                  <a:buChar char="•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4pPr>
                <a:lvl5pPr marL="582613" indent="-149225" defTabSz="895350"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5pPr>
                <a:lvl6pPr marL="1039813" indent="-149225" defTabSz="89535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6pPr>
                <a:lvl7pPr marL="1497013" indent="-149225" defTabSz="89535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7pPr>
                <a:lvl8pPr marL="1954213" indent="-149225" defTabSz="89535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8pPr>
                <a:lvl9pPr marL="2411413" indent="-149225" defTabSz="89535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  <a:ea typeface="-윤고딕130" pitchFamily="18" charset="-127"/>
                  </a:defRPr>
                </a:lvl9pPr>
              </a:lstStyle>
              <a:p>
                <a:pPr marL="0" marR="0" lvl="0" indent="0" algn="ctr" defTabSz="89535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Pct val="120000"/>
                  <a:buFontTx/>
                  <a:buNone/>
                  <a:tabLst/>
                  <a:defRPr/>
                </a:pPr>
                <a:r>
                  <a:rPr lang="en-US" altLang="ko-KR" kern="0" dirty="0" err="1" smtClean="0">
                    <a:solidFill>
                      <a:schemeClr val="bg1"/>
                    </a:solidFill>
                    <a:latin typeface="+mj-lt"/>
                    <a:ea typeface="Gulim" pitchFamily="34" charset="-127"/>
                  </a:rPr>
                  <a:t>MoEF</a:t>
                </a:r>
                <a:endParaRPr kumimoji="0" lang="en-US" altLang="ko-KR" sz="160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lt"/>
                  <a:ea typeface="Gulim" pitchFamily="34" charset="-127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04820930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BROAD GLOBAL TREND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sz="2800" dirty="0"/>
              <a:t>$10bn a year.( Wilson-Wilde, 2010)</a:t>
            </a:r>
          </a:p>
          <a:p>
            <a:r>
              <a:rPr lang="en-GB" sz="2800" dirty="0" smtClean="0"/>
              <a:t>Prices appear to be rising</a:t>
            </a:r>
          </a:p>
          <a:p>
            <a:r>
              <a:rPr lang="en-GB" sz="2800" dirty="0" smtClean="0"/>
              <a:t>Demand is rising, and diversifying.</a:t>
            </a:r>
          </a:p>
          <a:p>
            <a:r>
              <a:rPr lang="en-GB" sz="2800" dirty="0" smtClean="0"/>
              <a:t>New markets are being created – new middle class in Asia and Africa</a:t>
            </a:r>
          </a:p>
          <a:p>
            <a:r>
              <a:rPr lang="en-GB" sz="2800" dirty="0" smtClean="0"/>
              <a:t>Increasing sophistication, decreasing visibility</a:t>
            </a:r>
          </a:p>
          <a:p>
            <a:pPr marL="44450" indent="0" algn="ctr">
              <a:buNone/>
            </a:pPr>
            <a:endParaRPr lang="en-GB" sz="2800" b="1" dirty="0" smtClean="0">
              <a:solidFill>
                <a:schemeClr val="tx1"/>
              </a:solidFill>
            </a:endParaRPr>
          </a:p>
          <a:p>
            <a:pPr marL="44450" indent="0" algn="ctr">
              <a:buNone/>
            </a:pPr>
            <a:r>
              <a:rPr lang="en-GB" sz="2800" b="1" dirty="0" smtClean="0">
                <a:solidFill>
                  <a:schemeClr val="tx1"/>
                </a:solidFill>
              </a:rPr>
              <a:t>Wildlife criminals are p</a:t>
            </a:r>
            <a:r>
              <a:rPr lang="en-GB" sz="2800" b="1" dirty="0" smtClean="0">
                <a:solidFill>
                  <a:schemeClr val="tx1"/>
                </a:solidFill>
                <a:latin typeface="+mj-lt"/>
              </a:rPr>
              <a:t>rofessional</a:t>
            </a:r>
            <a:r>
              <a:rPr lang="en-GB" sz="2800" b="1" dirty="0">
                <a:solidFill>
                  <a:schemeClr val="tx1"/>
                </a:solidFill>
                <a:latin typeface="+mj-lt"/>
              </a:rPr>
              <a:t>, organised, cooperating internationally, </a:t>
            </a:r>
            <a:r>
              <a:rPr lang="en-GB" sz="2800" b="1" dirty="0" smtClean="0">
                <a:solidFill>
                  <a:schemeClr val="tx1"/>
                </a:solidFill>
                <a:latin typeface="+mj-lt"/>
              </a:rPr>
              <a:t>and innovative</a:t>
            </a:r>
            <a:endParaRPr lang="en-GB" sz="2800" b="1" dirty="0">
              <a:solidFill>
                <a:schemeClr val="tx1"/>
              </a:solidFill>
              <a:latin typeface="+mj-lt"/>
            </a:endParaRPr>
          </a:p>
          <a:p>
            <a:endParaRPr lang="en-GB" sz="2800" dirty="0" smtClean="0"/>
          </a:p>
          <a:p>
            <a:endParaRPr lang="en-GB" sz="2800" dirty="0"/>
          </a:p>
        </p:txBody>
      </p:sp>
    </p:spTree>
    <p:extLst>
      <p:ext uri="{BB962C8B-B14F-4D97-AF65-F5344CB8AC3E}">
        <p14:creationId xmlns:p14="http://schemas.microsoft.com/office/powerpoint/2010/main" val="844666294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23528" y="87015"/>
            <a:ext cx="345638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b="1" dirty="0" smtClean="0"/>
              <a:t>PRIORITY ACTIONS</a:t>
            </a:r>
            <a:endParaRPr lang="en-GB" sz="2400" b="1" dirty="0"/>
          </a:p>
        </p:txBody>
      </p:sp>
      <p:sp>
        <p:nvSpPr>
          <p:cNvPr id="4" name="TextBox 3"/>
          <p:cNvSpPr txBox="1"/>
          <p:nvPr/>
        </p:nvSpPr>
        <p:spPr>
          <a:xfrm>
            <a:off x="276500" y="733441"/>
            <a:ext cx="842493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t"/>
            <a:r>
              <a:rPr lang="en-GB" sz="1600" dirty="0" smtClean="0"/>
              <a:t>Some top priority actions to reduce the volume of Indonesia’s illegal trade in wildlife:</a:t>
            </a:r>
            <a:endParaRPr lang="en-GB" sz="1600" dirty="0"/>
          </a:p>
          <a:p>
            <a:pPr fontAlgn="t"/>
            <a:r>
              <a:rPr lang="en-GB" sz="1600" dirty="0"/>
              <a:t> </a:t>
            </a:r>
          </a:p>
          <a:p>
            <a:endParaRPr lang="en-GB" sz="1600" dirty="0"/>
          </a:p>
        </p:txBody>
      </p:sp>
      <p:grpSp>
        <p:nvGrpSpPr>
          <p:cNvPr id="16" name="Group 5"/>
          <p:cNvGrpSpPr>
            <a:grpSpLocks/>
          </p:cNvGrpSpPr>
          <p:nvPr/>
        </p:nvGrpSpPr>
        <p:grpSpPr bwMode="auto">
          <a:xfrm>
            <a:off x="1292225" y="4663777"/>
            <a:ext cx="6353175" cy="1933575"/>
            <a:chOff x="1451" y="2372"/>
            <a:chExt cx="3789" cy="1410"/>
          </a:xfrm>
          <a:solidFill>
            <a:schemeClr val="tx1">
              <a:lumMod val="50000"/>
            </a:schemeClr>
          </a:solidFill>
        </p:grpSpPr>
        <p:sp>
          <p:nvSpPr>
            <p:cNvPr id="17" name="Line 6"/>
            <p:cNvSpPr>
              <a:spLocks noChangeShapeType="1"/>
            </p:cNvSpPr>
            <p:nvPr/>
          </p:nvSpPr>
          <p:spPr bwMode="auto">
            <a:xfrm>
              <a:off x="2903" y="3676"/>
              <a:ext cx="1088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18" name="AutoShape 7"/>
            <p:cNvSpPr>
              <a:spLocks noChangeArrowheads="1"/>
            </p:cNvSpPr>
            <p:nvPr/>
          </p:nvSpPr>
          <p:spPr bwMode="auto">
            <a:xfrm rot="20460000">
              <a:off x="3387" y="3046"/>
              <a:ext cx="1352" cy="74"/>
            </a:xfrm>
            <a:prstGeom prst="roundRect">
              <a:avLst>
                <a:gd name="adj" fmla="val 40903"/>
              </a:avLst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19" name="AutoShape 8"/>
            <p:cNvSpPr>
              <a:spLocks noChangeArrowheads="1"/>
            </p:cNvSpPr>
            <p:nvPr/>
          </p:nvSpPr>
          <p:spPr bwMode="auto">
            <a:xfrm>
              <a:off x="2124" y="3267"/>
              <a:ext cx="1343" cy="74"/>
            </a:xfrm>
            <a:prstGeom prst="roundRect">
              <a:avLst>
                <a:gd name="adj" fmla="val 40903"/>
              </a:avLst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20" name="Freeform 9"/>
            <p:cNvSpPr>
              <a:spLocks/>
            </p:cNvSpPr>
            <p:nvPr/>
          </p:nvSpPr>
          <p:spPr bwMode="auto">
            <a:xfrm>
              <a:off x="1992" y="2999"/>
              <a:ext cx="203" cy="337"/>
            </a:xfrm>
            <a:custGeom>
              <a:avLst/>
              <a:gdLst>
                <a:gd name="T0" fmla="*/ 70 w 203"/>
                <a:gd name="T1" fmla="*/ 16 h 337"/>
                <a:gd name="T2" fmla="*/ 189 w 203"/>
                <a:gd name="T3" fmla="*/ 271 h 337"/>
                <a:gd name="T4" fmla="*/ 201 w 203"/>
                <a:gd name="T5" fmla="*/ 294 h 337"/>
                <a:gd name="T6" fmla="*/ 202 w 203"/>
                <a:gd name="T7" fmla="*/ 306 h 337"/>
                <a:gd name="T8" fmla="*/ 194 w 203"/>
                <a:gd name="T9" fmla="*/ 322 h 337"/>
                <a:gd name="T10" fmla="*/ 175 w 203"/>
                <a:gd name="T11" fmla="*/ 336 h 337"/>
                <a:gd name="T12" fmla="*/ 157 w 203"/>
                <a:gd name="T13" fmla="*/ 336 h 337"/>
                <a:gd name="T14" fmla="*/ 141 w 203"/>
                <a:gd name="T15" fmla="*/ 331 h 337"/>
                <a:gd name="T16" fmla="*/ 132 w 203"/>
                <a:gd name="T17" fmla="*/ 322 h 337"/>
                <a:gd name="T18" fmla="*/ 124 w 203"/>
                <a:gd name="T19" fmla="*/ 314 h 337"/>
                <a:gd name="T20" fmla="*/ 0 w 203"/>
                <a:gd name="T21" fmla="*/ 39 h 337"/>
                <a:gd name="T22" fmla="*/ 0 w 203"/>
                <a:gd name="T23" fmla="*/ 24 h 337"/>
                <a:gd name="T24" fmla="*/ 8 w 203"/>
                <a:gd name="T25" fmla="*/ 16 h 337"/>
                <a:gd name="T26" fmla="*/ 16 w 203"/>
                <a:gd name="T27" fmla="*/ 8 h 337"/>
                <a:gd name="T28" fmla="*/ 23 w 203"/>
                <a:gd name="T29" fmla="*/ 0 h 337"/>
                <a:gd name="T30" fmla="*/ 39 w 203"/>
                <a:gd name="T31" fmla="*/ 0 h 337"/>
                <a:gd name="T32" fmla="*/ 47 w 203"/>
                <a:gd name="T33" fmla="*/ 0 h 337"/>
                <a:gd name="T34" fmla="*/ 62 w 203"/>
                <a:gd name="T35" fmla="*/ 8 h 337"/>
                <a:gd name="T36" fmla="*/ 70 w 203"/>
                <a:gd name="T37" fmla="*/ 16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03" h="337">
                  <a:moveTo>
                    <a:pt x="70" y="16"/>
                  </a:moveTo>
                  <a:lnTo>
                    <a:pt x="189" y="271"/>
                  </a:lnTo>
                  <a:lnTo>
                    <a:pt x="201" y="294"/>
                  </a:lnTo>
                  <a:lnTo>
                    <a:pt x="202" y="306"/>
                  </a:lnTo>
                  <a:lnTo>
                    <a:pt x="194" y="322"/>
                  </a:lnTo>
                  <a:lnTo>
                    <a:pt x="175" y="336"/>
                  </a:lnTo>
                  <a:lnTo>
                    <a:pt x="157" y="336"/>
                  </a:lnTo>
                  <a:lnTo>
                    <a:pt x="141" y="331"/>
                  </a:lnTo>
                  <a:lnTo>
                    <a:pt x="132" y="322"/>
                  </a:lnTo>
                  <a:lnTo>
                    <a:pt x="124" y="314"/>
                  </a:lnTo>
                  <a:lnTo>
                    <a:pt x="0" y="39"/>
                  </a:lnTo>
                  <a:lnTo>
                    <a:pt x="0" y="24"/>
                  </a:lnTo>
                  <a:lnTo>
                    <a:pt x="8" y="16"/>
                  </a:lnTo>
                  <a:lnTo>
                    <a:pt x="16" y="8"/>
                  </a:lnTo>
                  <a:lnTo>
                    <a:pt x="23" y="0"/>
                  </a:lnTo>
                  <a:lnTo>
                    <a:pt x="39" y="0"/>
                  </a:lnTo>
                  <a:lnTo>
                    <a:pt x="47" y="0"/>
                  </a:lnTo>
                  <a:lnTo>
                    <a:pt x="62" y="8"/>
                  </a:lnTo>
                  <a:lnTo>
                    <a:pt x="70" y="16"/>
                  </a:lnTo>
                </a:path>
              </a:pathLst>
            </a:custGeom>
            <a:grpFill/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1" name="Freeform 10"/>
            <p:cNvSpPr>
              <a:spLocks/>
            </p:cNvSpPr>
            <p:nvPr/>
          </p:nvSpPr>
          <p:spPr bwMode="auto">
            <a:xfrm>
              <a:off x="4626" y="2528"/>
              <a:ext cx="78" cy="366"/>
            </a:xfrm>
            <a:custGeom>
              <a:avLst/>
              <a:gdLst>
                <a:gd name="T0" fmla="*/ 0 w 78"/>
                <a:gd name="T1" fmla="*/ 316 h 366"/>
                <a:gd name="T2" fmla="*/ 0 w 78"/>
                <a:gd name="T3" fmla="*/ 47 h 366"/>
                <a:gd name="T4" fmla="*/ 9 w 78"/>
                <a:gd name="T5" fmla="*/ 24 h 366"/>
                <a:gd name="T6" fmla="*/ 17 w 78"/>
                <a:gd name="T7" fmla="*/ 8 h 366"/>
                <a:gd name="T8" fmla="*/ 24 w 78"/>
                <a:gd name="T9" fmla="*/ 0 h 366"/>
                <a:gd name="T10" fmla="*/ 39 w 78"/>
                <a:gd name="T11" fmla="*/ 0 h 366"/>
                <a:gd name="T12" fmla="*/ 61 w 78"/>
                <a:gd name="T13" fmla="*/ 8 h 366"/>
                <a:gd name="T14" fmla="*/ 69 w 78"/>
                <a:gd name="T15" fmla="*/ 16 h 366"/>
                <a:gd name="T16" fmla="*/ 76 w 78"/>
                <a:gd name="T17" fmla="*/ 24 h 366"/>
                <a:gd name="T18" fmla="*/ 76 w 78"/>
                <a:gd name="T19" fmla="*/ 39 h 366"/>
                <a:gd name="T20" fmla="*/ 77 w 78"/>
                <a:gd name="T21" fmla="*/ 316 h 366"/>
                <a:gd name="T22" fmla="*/ 77 w 78"/>
                <a:gd name="T23" fmla="*/ 344 h 366"/>
                <a:gd name="T24" fmla="*/ 71 w 78"/>
                <a:gd name="T25" fmla="*/ 356 h 366"/>
                <a:gd name="T26" fmla="*/ 60 w 78"/>
                <a:gd name="T27" fmla="*/ 362 h 366"/>
                <a:gd name="T28" fmla="*/ 50 w 78"/>
                <a:gd name="T29" fmla="*/ 365 h 366"/>
                <a:gd name="T30" fmla="*/ 35 w 78"/>
                <a:gd name="T31" fmla="*/ 365 h 366"/>
                <a:gd name="T32" fmla="*/ 24 w 78"/>
                <a:gd name="T33" fmla="*/ 364 h 366"/>
                <a:gd name="T34" fmla="*/ 15 w 78"/>
                <a:gd name="T35" fmla="*/ 361 h 366"/>
                <a:gd name="T36" fmla="*/ 9 w 78"/>
                <a:gd name="T37" fmla="*/ 356 h 366"/>
                <a:gd name="T38" fmla="*/ 2 w 78"/>
                <a:gd name="T39" fmla="*/ 343 h 366"/>
                <a:gd name="T40" fmla="*/ 0 w 78"/>
                <a:gd name="T41" fmla="*/ 31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78" h="366">
                  <a:moveTo>
                    <a:pt x="0" y="316"/>
                  </a:moveTo>
                  <a:lnTo>
                    <a:pt x="0" y="47"/>
                  </a:lnTo>
                  <a:lnTo>
                    <a:pt x="9" y="24"/>
                  </a:lnTo>
                  <a:lnTo>
                    <a:pt x="17" y="8"/>
                  </a:lnTo>
                  <a:lnTo>
                    <a:pt x="24" y="0"/>
                  </a:lnTo>
                  <a:lnTo>
                    <a:pt x="39" y="0"/>
                  </a:lnTo>
                  <a:lnTo>
                    <a:pt x="61" y="8"/>
                  </a:lnTo>
                  <a:lnTo>
                    <a:pt x="69" y="16"/>
                  </a:lnTo>
                  <a:lnTo>
                    <a:pt x="76" y="24"/>
                  </a:lnTo>
                  <a:lnTo>
                    <a:pt x="76" y="39"/>
                  </a:lnTo>
                  <a:lnTo>
                    <a:pt x="77" y="316"/>
                  </a:lnTo>
                  <a:lnTo>
                    <a:pt x="77" y="344"/>
                  </a:lnTo>
                  <a:lnTo>
                    <a:pt x="71" y="356"/>
                  </a:lnTo>
                  <a:lnTo>
                    <a:pt x="60" y="362"/>
                  </a:lnTo>
                  <a:lnTo>
                    <a:pt x="50" y="365"/>
                  </a:lnTo>
                  <a:lnTo>
                    <a:pt x="35" y="365"/>
                  </a:lnTo>
                  <a:lnTo>
                    <a:pt x="24" y="364"/>
                  </a:lnTo>
                  <a:lnTo>
                    <a:pt x="15" y="361"/>
                  </a:lnTo>
                  <a:lnTo>
                    <a:pt x="9" y="356"/>
                  </a:lnTo>
                  <a:lnTo>
                    <a:pt x="2" y="343"/>
                  </a:lnTo>
                  <a:lnTo>
                    <a:pt x="0" y="316"/>
                  </a:lnTo>
                </a:path>
              </a:pathLst>
            </a:custGeom>
            <a:grpFill/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2" name="Freeform 11"/>
            <p:cNvSpPr>
              <a:spLocks/>
            </p:cNvSpPr>
            <p:nvPr/>
          </p:nvSpPr>
          <p:spPr bwMode="auto">
            <a:xfrm>
              <a:off x="3162" y="3445"/>
              <a:ext cx="876" cy="337"/>
            </a:xfrm>
            <a:custGeom>
              <a:avLst/>
              <a:gdLst>
                <a:gd name="T0" fmla="*/ 0 w 876"/>
                <a:gd name="T1" fmla="*/ 336 h 337"/>
                <a:gd name="T2" fmla="*/ 875 w 876"/>
                <a:gd name="T3" fmla="*/ 336 h 337"/>
                <a:gd name="T4" fmla="*/ 875 w 876"/>
                <a:gd name="T5" fmla="*/ 223 h 337"/>
                <a:gd name="T6" fmla="*/ 827 w 876"/>
                <a:gd name="T7" fmla="*/ 224 h 337"/>
                <a:gd name="T8" fmla="*/ 788 w 876"/>
                <a:gd name="T9" fmla="*/ 176 h 337"/>
                <a:gd name="T10" fmla="*/ 773 w 876"/>
                <a:gd name="T11" fmla="*/ 136 h 337"/>
                <a:gd name="T12" fmla="*/ 591 w 876"/>
                <a:gd name="T13" fmla="*/ 103 h 337"/>
                <a:gd name="T14" fmla="*/ 504 w 876"/>
                <a:gd name="T15" fmla="*/ 0 h 337"/>
                <a:gd name="T16" fmla="*/ 336 w 876"/>
                <a:gd name="T17" fmla="*/ 0 h 337"/>
                <a:gd name="T18" fmla="*/ 260 w 876"/>
                <a:gd name="T19" fmla="*/ 4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76" h="337">
                  <a:moveTo>
                    <a:pt x="0" y="336"/>
                  </a:moveTo>
                  <a:lnTo>
                    <a:pt x="875" y="336"/>
                  </a:lnTo>
                  <a:lnTo>
                    <a:pt x="875" y="223"/>
                  </a:lnTo>
                  <a:lnTo>
                    <a:pt x="827" y="224"/>
                  </a:lnTo>
                  <a:lnTo>
                    <a:pt x="788" y="176"/>
                  </a:lnTo>
                  <a:lnTo>
                    <a:pt x="773" y="136"/>
                  </a:lnTo>
                  <a:lnTo>
                    <a:pt x="591" y="103"/>
                  </a:lnTo>
                  <a:lnTo>
                    <a:pt x="504" y="0"/>
                  </a:lnTo>
                  <a:lnTo>
                    <a:pt x="336" y="0"/>
                  </a:lnTo>
                  <a:lnTo>
                    <a:pt x="260" y="4"/>
                  </a:lnTo>
                </a:path>
              </a:pathLst>
            </a:custGeom>
            <a:grpFill/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" name="Freeform 12"/>
            <p:cNvSpPr>
              <a:spLocks/>
            </p:cNvSpPr>
            <p:nvPr/>
          </p:nvSpPr>
          <p:spPr bwMode="auto">
            <a:xfrm>
              <a:off x="2866" y="3260"/>
              <a:ext cx="873" cy="521"/>
            </a:xfrm>
            <a:custGeom>
              <a:avLst/>
              <a:gdLst>
                <a:gd name="T0" fmla="*/ 872 w 873"/>
                <a:gd name="T1" fmla="*/ 520 h 521"/>
                <a:gd name="T2" fmla="*/ 0 w 873"/>
                <a:gd name="T3" fmla="*/ 520 h 521"/>
                <a:gd name="T4" fmla="*/ 0 w 873"/>
                <a:gd name="T5" fmla="*/ 406 h 521"/>
                <a:gd name="T6" fmla="*/ 47 w 873"/>
                <a:gd name="T7" fmla="*/ 406 h 521"/>
                <a:gd name="T8" fmla="*/ 86 w 873"/>
                <a:gd name="T9" fmla="*/ 362 h 521"/>
                <a:gd name="T10" fmla="*/ 104 w 873"/>
                <a:gd name="T11" fmla="*/ 316 h 521"/>
                <a:gd name="T12" fmla="*/ 274 w 873"/>
                <a:gd name="T13" fmla="*/ 291 h 521"/>
                <a:gd name="T14" fmla="*/ 370 w 873"/>
                <a:gd name="T15" fmla="*/ 186 h 521"/>
                <a:gd name="T16" fmla="*/ 530 w 873"/>
                <a:gd name="T17" fmla="*/ 186 h 521"/>
                <a:gd name="T18" fmla="*/ 530 w 873"/>
                <a:gd name="T19" fmla="*/ 84 h 521"/>
                <a:gd name="T20" fmla="*/ 544 w 873"/>
                <a:gd name="T21" fmla="*/ 67 h 521"/>
                <a:gd name="T22" fmla="*/ 544 w 873"/>
                <a:gd name="T23" fmla="*/ 22 h 521"/>
                <a:gd name="T24" fmla="*/ 578 w 873"/>
                <a:gd name="T25" fmla="*/ 0 h 521"/>
                <a:gd name="T26" fmla="*/ 613 w 873"/>
                <a:gd name="T27" fmla="*/ 18 h 521"/>
                <a:gd name="T28" fmla="*/ 613 w 873"/>
                <a:gd name="T29" fmla="*/ 69 h 521"/>
                <a:gd name="T30" fmla="*/ 629 w 873"/>
                <a:gd name="T31" fmla="*/ 84 h 521"/>
                <a:gd name="T32" fmla="*/ 629 w 873"/>
                <a:gd name="T33" fmla="*/ 183 h 521"/>
                <a:gd name="T34" fmla="*/ 638 w 873"/>
                <a:gd name="T35" fmla="*/ 185 h 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73" h="521">
                  <a:moveTo>
                    <a:pt x="872" y="520"/>
                  </a:moveTo>
                  <a:lnTo>
                    <a:pt x="0" y="520"/>
                  </a:lnTo>
                  <a:lnTo>
                    <a:pt x="0" y="406"/>
                  </a:lnTo>
                  <a:lnTo>
                    <a:pt x="47" y="406"/>
                  </a:lnTo>
                  <a:lnTo>
                    <a:pt x="86" y="362"/>
                  </a:lnTo>
                  <a:lnTo>
                    <a:pt x="104" y="316"/>
                  </a:lnTo>
                  <a:lnTo>
                    <a:pt x="274" y="291"/>
                  </a:lnTo>
                  <a:lnTo>
                    <a:pt x="370" y="186"/>
                  </a:lnTo>
                  <a:lnTo>
                    <a:pt x="530" y="186"/>
                  </a:lnTo>
                  <a:lnTo>
                    <a:pt x="530" y="84"/>
                  </a:lnTo>
                  <a:lnTo>
                    <a:pt x="544" y="67"/>
                  </a:lnTo>
                  <a:lnTo>
                    <a:pt x="544" y="22"/>
                  </a:lnTo>
                  <a:lnTo>
                    <a:pt x="578" y="0"/>
                  </a:lnTo>
                  <a:lnTo>
                    <a:pt x="613" y="18"/>
                  </a:lnTo>
                  <a:lnTo>
                    <a:pt x="613" y="69"/>
                  </a:lnTo>
                  <a:lnTo>
                    <a:pt x="629" y="84"/>
                  </a:lnTo>
                  <a:lnTo>
                    <a:pt x="629" y="183"/>
                  </a:lnTo>
                  <a:lnTo>
                    <a:pt x="638" y="185"/>
                  </a:lnTo>
                </a:path>
              </a:pathLst>
            </a:custGeom>
            <a:grpFill/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" name="Freeform 13"/>
            <p:cNvSpPr>
              <a:spLocks/>
            </p:cNvSpPr>
            <p:nvPr/>
          </p:nvSpPr>
          <p:spPr bwMode="auto">
            <a:xfrm>
              <a:off x="1454" y="2841"/>
              <a:ext cx="867" cy="211"/>
            </a:xfrm>
            <a:custGeom>
              <a:avLst/>
              <a:gdLst>
                <a:gd name="T0" fmla="*/ 659 w 867"/>
                <a:gd name="T1" fmla="*/ 0 h 211"/>
                <a:gd name="T2" fmla="*/ 405 w 867"/>
                <a:gd name="T3" fmla="*/ 0 h 211"/>
                <a:gd name="T4" fmla="*/ 215 w 867"/>
                <a:gd name="T5" fmla="*/ 0 h 211"/>
                <a:gd name="T6" fmla="*/ 79 w 867"/>
                <a:gd name="T7" fmla="*/ 0 h 211"/>
                <a:gd name="T8" fmla="*/ 8 w 867"/>
                <a:gd name="T9" fmla="*/ 0 h 211"/>
                <a:gd name="T10" fmla="*/ 0 w 867"/>
                <a:gd name="T11" fmla="*/ 16 h 211"/>
                <a:gd name="T12" fmla="*/ 0 w 867"/>
                <a:gd name="T13" fmla="*/ 39 h 211"/>
                <a:gd name="T14" fmla="*/ 16 w 867"/>
                <a:gd name="T15" fmla="*/ 47 h 211"/>
                <a:gd name="T16" fmla="*/ 40 w 867"/>
                <a:gd name="T17" fmla="*/ 47 h 211"/>
                <a:gd name="T18" fmla="*/ 56 w 867"/>
                <a:gd name="T19" fmla="*/ 54 h 211"/>
                <a:gd name="T20" fmla="*/ 79 w 867"/>
                <a:gd name="T21" fmla="*/ 70 h 211"/>
                <a:gd name="T22" fmla="*/ 103 w 867"/>
                <a:gd name="T23" fmla="*/ 86 h 211"/>
                <a:gd name="T24" fmla="*/ 119 w 867"/>
                <a:gd name="T25" fmla="*/ 93 h 211"/>
                <a:gd name="T26" fmla="*/ 143 w 867"/>
                <a:gd name="T27" fmla="*/ 93 h 211"/>
                <a:gd name="T28" fmla="*/ 167 w 867"/>
                <a:gd name="T29" fmla="*/ 93 h 211"/>
                <a:gd name="T30" fmla="*/ 199 w 867"/>
                <a:gd name="T31" fmla="*/ 93 h 211"/>
                <a:gd name="T32" fmla="*/ 230 w 867"/>
                <a:gd name="T33" fmla="*/ 93 h 211"/>
                <a:gd name="T34" fmla="*/ 262 w 867"/>
                <a:gd name="T35" fmla="*/ 93 h 211"/>
                <a:gd name="T36" fmla="*/ 286 w 867"/>
                <a:gd name="T37" fmla="*/ 101 h 211"/>
                <a:gd name="T38" fmla="*/ 302 w 867"/>
                <a:gd name="T39" fmla="*/ 109 h 211"/>
                <a:gd name="T40" fmla="*/ 326 w 867"/>
                <a:gd name="T41" fmla="*/ 109 h 211"/>
                <a:gd name="T42" fmla="*/ 334 w 867"/>
                <a:gd name="T43" fmla="*/ 124 h 211"/>
                <a:gd name="T44" fmla="*/ 358 w 867"/>
                <a:gd name="T45" fmla="*/ 132 h 211"/>
                <a:gd name="T46" fmla="*/ 373 w 867"/>
                <a:gd name="T47" fmla="*/ 140 h 211"/>
                <a:gd name="T48" fmla="*/ 397 w 867"/>
                <a:gd name="T49" fmla="*/ 140 h 211"/>
                <a:gd name="T50" fmla="*/ 421 w 867"/>
                <a:gd name="T51" fmla="*/ 140 h 211"/>
                <a:gd name="T52" fmla="*/ 453 w 867"/>
                <a:gd name="T53" fmla="*/ 140 h 211"/>
                <a:gd name="T54" fmla="*/ 477 w 867"/>
                <a:gd name="T55" fmla="*/ 140 h 211"/>
                <a:gd name="T56" fmla="*/ 501 w 867"/>
                <a:gd name="T57" fmla="*/ 140 h 211"/>
                <a:gd name="T58" fmla="*/ 524 w 867"/>
                <a:gd name="T59" fmla="*/ 140 h 211"/>
                <a:gd name="T60" fmla="*/ 524 w 867"/>
                <a:gd name="T61" fmla="*/ 163 h 211"/>
                <a:gd name="T62" fmla="*/ 524 w 867"/>
                <a:gd name="T63" fmla="*/ 187 h 211"/>
                <a:gd name="T64" fmla="*/ 540 w 867"/>
                <a:gd name="T65" fmla="*/ 202 h 211"/>
                <a:gd name="T66" fmla="*/ 556 w 867"/>
                <a:gd name="T67" fmla="*/ 210 h 211"/>
                <a:gd name="T68" fmla="*/ 580 w 867"/>
                <a:gd name="T69" fmla="*/ 210 h 211"/>
                <a:gd name="T70" fmla="*/ 604 w 867"/>
                <a:gd name="T71" fmla="*/ 202 h 211"/>
                <a:gd name="T72" fmla="*/ 620 w 867"/>
                <a:gd name="T73" fmla="*/ 187 h 211"/>
                <a:gd name="T74" fmla="*/ 620 w 867"/>
                <a:gd name="T75" fmla="*/ 163 h 211"/>
                <a:gd name="T76" fmla="*/ 620 w 867"/>
                <a:gd name="T77" fmla="*/ 140 h 211"/>
                <a:gd name="T78" fmla="*/ 644 w 867"/>
                <a:gd name="T79" fmla="*/ 140 h 211"/>
                <a:gd name="T80" fmla="*/ 667 w 867"/>
                <a:gd name="T81" fmla="*/ 140 h 211"/>
                <a:gd name="T82" fmla="*/ 691 w 867"/>
                <a:gd name="T83" fmla="*/ 140 h 211"/>
                <a:gd name="T84" fmla="*/ 866 w 867"/>
                <a:gd name="T85" fmla="*/ 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867" h="211">
                  <a:moveTo>
                    <a:pt x="866" y="0"/>
                  </a:moveTo>
                  <a:lnTo>
                    <a:pt x="755" y="0"/>
                  </a:lnTo>
                  <a:lnTo>
                    <a:pt x="659" y="0"/>
                  </a:lnTo>
                  <a:lnTo>
                    <a:pt x="572" y="0"/>
                  </a:lnTo>
                  <a:lnTo>
                    <a:pt x="485" y="0"/>
                  </a:lnTo>
                  <a:lnTo>
                    <a:pt x="405" y="0"/>
                  </a:lnTo>
                  <a:lnTo>
                    <a:pt x="334" y="0"/>
                  </a:lnTo>
                  <a:lnTo>
                    <a:pt x="270" y="0"/>
                  </a:lnTo>
                  <a:lnTo>
                    <a:pt x="215" y="0"/>
                  </a:lnTo>
                  <a:lnTo>
                    <a:pt x="159" y="0"/>
                  </a:lnTo>
                  <a:lnTo>
                    <a:pt x="119" y="0"/>
                  </a:lnTo>
                  <a:lnTo>
                    <a:pt x="79" y="0"/>
                  </a:lnTo>
                  <a:lnTo>
                    <a:pt x="48" y="0"/>
                  </a:lnTo>
                  <a:lnTo>
                    <a:pt x="24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8"/>
                  </a:lnTo>
                  <a:lnTo>
                    <a:pt x="0" y="16"/>
                  </a:lnTo>
                  <a:lnTo>
                    <a:pt x="0" y="23"/>
                  </a:lnTo>
                  <a:lnTo>
                    <a:pt x="0" y="31"/>
                  </a:lnTo>
                  <a:lnTo>
                    <a:pt x="0" y="39"/>
                  </a:lnTo>
                  <a:lnTo>
                    <a:pt x="0" y="47"/>
                  </a:lnTo>
                  <a:lnTo>
                    <a:pt x="8" y="47"/>
                  </a:lnTo>
                  <a:lnTo>
                    <a:pt x="16" y="47"/>
                  </a:lnTo>
                  <a:lnTo>
                    <a:pt x="24" y="47"/>
                  </a:lnTo>
                  <a:lnTo>
                    <a:pt x="32" y="47"/>
                  </a:lnTo>
                  <a:lnTo>
                    <a:pt x="40" y="47"/>
                  </a:lnTo>
                  <a:lnTo>
                    <a:pt x="48" y="47"/>
                  </a:lnTo>
                  <a:lnTo>
                    <a:pt x="48" y="54"/>
                  </a:lnTo>
                  <a:lnTo>
                    <a:pt x="56" y="54"/>
                  </a:lnTo>
                  <a:lnTo>
                    <a:pt x="64" y="62"/>
                  </a:lnTo>
                  <a:lnTo>
                    <a:pt x="72" y="62"/>
                  </a:lnTo>
                  <a:lnTo>
                    <a:pt x="79" y="70"/>
                  </a:lnTo>
                  <a:lnTo>
                    <a:pt x="87" y="78"/>
                  </a:lnTo>
                  <a:lnTo>
                    <a:pt x="95" y="78"/>
                  </a:lnTo>
                  <a:lnTo>
                    <a:pt x="103" y="86"/>
                  </a:lnTo>
                  <a:lnTo>
                    <a:pt x="111" y="86"/>
                  </a:lnTo>
                  <a:lnTo>
                    <a:pt x="111" y="93"/>
                  </a:lnTo>
                  <a:lnTo>
                    <a:pt x="119" y="93"/>
                  </a:lnTo>
                  <a:lnTo>
                    <a:pt x="127" y="93"/>
                  </a:lnTo>
                  <a:lnTo>
                    <a:pt x="135" y="93"/>
                  </a:lnTo>
                  <a:lnTo>
                    <a:pt x="143" y="93"/>
                  </a:lnTo>
                  <a:lnTo>
                    <a:pt x="151" y="93"/>
                  </a:lnTo>
                  <a:lnTo>
                    <a:pt x="159" y="93"/>
                  </a:lnTo>
                  <a:lnTo>
                    <a:pt x="167" y="93"/>
                  </a:lnTo>
                  <a:lnTo>
                    <a:pt x="175" y="93"/>
                  </a:lnTo>
                  <a:lnTo>
                    <a:pt x="183" y="93"/>
                  </a:lnTo>
                  <a:lnTo>
                    <a:pt x="199" y="93"/>
                  </a:lnTo>
                  <a:lnTo>
                    <a:pt x="207" y="93"/>
                  </a:lnTo>
                  <a:lnTo>
                    <a:pt x="222" y="93"/>
                  </a:lnTo>
                  <a:lnTo>
                    <a:pt x="230" y="93"/>
                  </a:lnTo>
                  <a:lnTo>
                    <a:pt x="238" y="93"/>
                  </a:lnTo>
                  <a:lnTo>
                    <a:pt x="246" y="93"/>
                  </a:lnTo>
                  <a:lnTo>
                    <a:pt x="262" y="93"/>
                  </a:lnTo>
                  <a:lnTo>
                    <a:pt x="270" y="101"/>
                  </a:lnTo>
                  <a:lnTo>
                    <a:pt x="278" y="101"/>
                  </a:lnTo>
                  <a:lnTo>
                    <a:pt x="286" y="101"/>
                  </a:lnTo>
                  <a:lnTo>
                    <a:pt x="294" y="101"/>
                  </a:lnTo>
                  <a:lnTo>
                    <a:pt x="302" y="101"/>
                  </a:lnTo>
                  <a:lnTo>
                    <a:pt x="302" y="109"/>
                  </a:lnTo>
                  <a:lnTo>
                    <a:pt x="310" y="109"/>
                  </a:lnTo>
                  <a:lnTo>
                    <a:pt x="318" y="109"/>
                  </a:lnTo>
                  <a:lnTo>
                    <a:pt x="326" y="109"/>
                  </a:lnTo>
                  <a:lnTo>
                    <a:pt x="326" y="117"/>
                  </a:lnTo>
                  <a:lnTo>
                    <a:pt x="334" y="117"/>
                  </a:lnTo>
                  <a:lnTo>
                    <a:pt x="334" y="124"/>
                  </a:lnTo>
                  <a:lnTo>
                    <a:pt x="342" y="124"/>
                  </a:lnTo>
                  <a:lnTo>
                    <a:pt x="350" y="132"/>
                  </a:lnTo>
                  <a:lnTo>
                    <a:pt x="358" y="132"/>
                  </a:lnTo>
                  <a:lnTo>
                    <a:pt x="358" y="140"/>
                  </a:lnTo>
                  <a:lnTo>
                    <a:pt x="365" y="140"/>
                  </a:lnTo>
                  <a:lnTo>
                    <a:pt x="373" y="140"/>
                  </a:lnTo>
                  <a:lnTo>
                    <a:pt x="381" y="140"/>
                  </a:lnTo>
                  <a:lnTo>
                    <a:pt x="389" y="140"/>
                  </a:lnTo>
                  <a:lnTo>
                    <a:pt x="397" y="140"/>
                  </a:lnTo>
                  <a:lnTo>
                    <a:pt x="405" y="140"/>
                  </a:lnTo>
                  <a:lnTo>
                    <a:pt x="413" y="140"/>
                  </a:lnTo>
                  <a:lnTo>
                    <a:pt x="421" y="140"/>
                  </a:lnTo>
                  <a:lnTo>
                    <a:pt x="429" y="140"/>
                  </a:lnTo>
                  <a:lnTo>
                    <a:pt x="445" y="140"/>
                  </a:lnTo>
                  <a:lnTo>
                    <a:pt x="453" y="140"/>
                  </a:lnTo>
                  <a:lnTo>
                    <a:pt x="461" y="140"/>
                  </a:lnTo>
                  <a:lnTo>
                    <a:pt x="469" y="140"/>
                  </a:lnTo>
                  <a:lnTo>
                    <a:pt x="477" y="140"/>
                  </a:lnTo>
                  <a:lnTo>
                    <a:pt x="485" y="140"/>
                  </a:lnTo>
                  <a:lnTo>
                    <a:pt x="493" y="140"/>
                  </a:lnTo>
                  <a:lnTo>
                    <a:pt x="501" y="140"/>
                  </a:lnTo>
                  <a:lnTo>
                    <a:pt x="508" y="140"/>
                  </a:lnTo>
                  <a:lnTo>
                    <a:pt x="516" y="140"/>
                  </a:lnTo>
                  <a:lnTo>
                    <a:pt x="524" y="140"/>
                  </a:lnTo>
                  <a:lnTo>
                    <a:pt x="524" y="148"/>
                  </a:lnTo>
                  <a:lnTo>
                    <a:pt x="524" y="156"/>
                  </a:lnTo>
                  <a:lnTo>
                    <a:pt x="524" y="163"/>
                  </a:lnTo>
                  <a:lnTo>
                    <a:pt x="524" y="171"/>
                  </a:lnTo>
                  <a:lnTo>
                    <a:pt x="524" y="179"/>
                  </a:lnTo>
                  <a:lnTo>
                    <a:pt x="524" y="187"/>
                  </a:lnTo>
                  <a:lnTo>
                    <a:pt x="524" y="194"/>
                  </a:lnTo>
                  <a:lnTo>
                    <a:pt x="532" y="202"/>
                  </a:lnTo>
                  <a:lnTo>
                    <a:pt x="540" y="202"/>
                  </a:lnTo>
                  <a:lnTo>
                    <a:pt x="540" y="210"/>
                  </a:lnTo>
                  <a:lnTo>
                    <a:pt x="548" y="210"/>
                  </a:lnTo>
                  <a:lnTo>
                    <a:pt x="556" y="210"/>
                  </a:lnTo>
                  <a:lnTo>
                    <a:pt x="564" y="210"/>
                  </a:lnTo>
                  <a:lnTo>
                    <a:pt x="572" y="210"/>
                  </a:lnTo>
                  <a:lnTo>
                    <a:pt x="580" y="210"/>
                  </a:lnTo>
                  <a:lnTo>
                    <a:pt x="588" y="210"/>
                  </a:lnTo>
                  <a:lnTo>
                    <a:pt x="596" y="210"/>
                  </a:lnTo>
                  <a:lnTo>
                    <a:pt x="604" y="202"/>
                  </a:lnTo>
                  <a:lnTo>
                    <a:pt x="612" y="194"/>
                  </a:lnTo>
                  <a:lnTo>
                    <a:pt x="612" y="187"/>
                  </a:lnTo>
                  <a:lnTo>
                    <a:pt x="620" y="187"/>
                  </a:lnTo>
                  <a:lnTo>
                    <a:pt x="620" y="179"/>
                  </a:lnTo>
                  <a:lnTo>
                    <a:pt x="620" y="171"/>
                  </a:lnTo>
                  <a:lnTo>
                    <a:pt x="620" y="163"/>
                  </a:lnTo>
                  <a:lnTo>
                    <a:pt x="620" y="156"/>
                  </a:lnTo>
                  <a:lnTo>
                    <a:pt x="620" y="148"/>
                  </a:lnTo>
                  <a:lnTo>
                    <a:pt x="620" y="140"/>
                  </a:lnTo>
                  <a:lnTo>
                    <a:pt x="628" y="140"/>
                  </a:lnTo>
                  <a:lnTo>
                    <a:pt x="636" y="140"/>
                  </a:lnTo>
                  <a:lnTo>
                    <a:pt x="644" y="140"/>
                  </a:lnTo>
                  <a:lnTo>
                    <a:pt x="651" y="140"/>
                  </a:lnTo>
                  <a:lnTo>
                    <a:pt x="659" y="140"/>
                  </a:lnTo>
                  <a:lnTo>
                    <a:pt x="667" y="140"/>
                  </a:lnTo>
                  <a:lnTo>
                    <a:pt x="675" y="140"/>
                  </a:lnTo>
                  <a:lnTo>
                    <a:pt x="683" y="140"/>
                  </a:lnTo>
                  <a:lnTo>
                    <a:pt x="691" y="140"/>
                  </a:lnTo>
                  <a:lnTo>
                    <a:pt x="699" y="140"/>
                  </a:lnTo>
                  <a:lnTo>
                    <a:pt x="707" y="140"/>
                  </a:lnTo>
                  <a:lnTo>
                    <a:pt x="866" y="0"/>
                  </a:lnTo>
                </a:path>
              </a:pathLst>
            </a:custGeom>
            <a:grpFill/>
            <a:ln w="9525" cap="rnd" cmpd="sng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5" name="Freeform 14"/>
            <p:cNvSpPr>
              <a:spLocks/>
            </p:cNvSpPr>
            <p:nvPr/>
          </p:nvSpPr>
          <p:spPr bwMode="auto">
            <a:xfrm>
              <a:off x="1451" y="2841"/>
              <a:ext cx="627" cy="217"/>
            </a:xfrm>
            <a:custGeom>
              <a:avLst/>
              <a:gdLst>
                <a:gd name="T0" fmla="*/ 0 w 627"/>
                <a:gd name="T1" fmla="*/ 0 h 217"/>
                <a:gd name="T2" fmla="*/ 0 w 627"/>
                <a:gd name="T3" fmla="*/ 48 h 217"/>
                <a:gd name="T4" fmla="*/ 40 w 627"/>
                <a:gd name="T5" fmla="*/ 48 h 217"/>
                <a:gd name="T6" fmla="*/ 112 w 627"/>
                <a:gd name="T7" fmla="*/ 96 h 217"/>
                <a:gd name="T8" fmla="*/ 248 w 627"/>
                <a:gd name="T9" fmla="*/ 96 h 217"/>
                <a:gd name="T10" fmla="*/ 359 w 627"/>
                <a:gd name="T11" fmla="*/ 144 h 217"/>
                <a:gd name="T12" fmla="*/ 530 w 627"/>
                <a:gd name="T13" fmla="*/ 144 h 217"/>
                <a:gd name="T14" fmla="*/ 528 w 627"/>
                <a:gd name="T15" fmla="*/ 200 h 217"/>
                <a:gd name="T16" fmla="*/ 554 w 627"/>
                <a:gd name="T17" fmla="*/ 216 h 217"/>
                <a:gd name="T18" fmla="*/ 598 w 627"/>
                <a:gd name="T19" fmla="*/ 216 h 217"/>
                <a:gd name="T20" fmla="*/ 626 w 627"/>
                <a:gd name="T21" fmla="*/ 203 h 217"/>
                <a:gd name="T22" fmla="*/ 626 w 627"/>
                <a:gd name="T23" fmla="*/ 144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27" h="217">
                  <a:moveTo>
                    <a:pt x="0" y="0"/>
                  </a:moveTo>
                  <a:lnTo>
                    <a:pt x="0" y="48"/>
                  </a:lnTo>
                  <a:lnTo>
                    <a:pt x="40" y="48"/>
                  </a:lnTo>
                  <a:lnTo>
                    <a:pt x="112" y="96"/>
                  </a:lnTo>
                  <a:lnTo>
                    <a:pt x="248" y="96"/>
                  </a:lnTo>
                  <a:lnTo>
                    <a:pt x="359" y="144"/>
                  </a:lnTo>
                  <a:lnTo>
                    <a:pt x="530" y="144"/>
                  </a:lnTo>
                  <a:lnTo>
                    <a:pt x="528" y="200"/>
                  </a:lnTo>
                  <a:lnTo>
                    <a:pt x="554" y="216"/>
                  </a:lnTo>
                  <a:lnTo>
                    <a:pt x="598" y="216"/>
                  </a:lnTo>
                  <a:lnTo>
                    <a:pt x="626" y="203"/>
                  </a:lnTo>
                  <a:lnTo>
                    <a:pt x="626" y="144"/>
                  </a:lnTo>
                </a:path>
              </a:pathLst>
            </a:custGeom>
            <a:grpFill/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6" name="Freeform 15"/>
            <p:cNvSpPr>
              <a:spLocks/>
            </p:cNvSpPr>
            <p:nvPr/>
          </p:nvSpPr>
          <p:spPr bwMode="auto">
            <a:xfrm>
              <a:off x="1735" y="2841"/>
              <a:ext cx="867" cy="214"/>
            </a:xfrm>
            <a:custGeom>
              <a:avLst/>
              <a:gdLst>
                <a:gd name="T0" fmla="*/ 111 w 867"/>
                <a:gd name="T1" fmla="*/ 0 h 214"/>
                <a:gd name="T2" fmla="*/ 294 w 867"/>
                <a:gd name="T3" fmla="*/ 0 h 214"/>
                <a:gd name="T4" fmla="*/ 461 w 867"/>
                <a:gd name="T5" fmla="*/ 0 h 214"/>
                <a:gd name="T6" fmla="*/ 596 w 867"/>
                <a:gd name="T7" fmla="*/ 0 h 214"/>
                <a:gd name="T8" fmla="*/ 707 w 867"/>
                <a:gd name="T9" fmla="*/ 0 h 214"/>
                <a:gd name="T10" fmla="*/ 787 w 867"/>
                <a:gd name="T11" fmla="*/ 0 h 214"/>
                <a:gd name="T12" fmla="*/ 842 w 867"/>
                <a:gd name="T13" fmla="*/ 0 h 214"/>
                <a:gd name="T14" fmla="*/ 866 w 867"/>
                <a:gd name="T15" fmla="*/ 0 h 214"/>
                <a:gd name="T16" fmla="*/ 866 w 867"/>
                <a:gd name="T17" fmla="*/ 16 h 214"/>
                <a:gd name="T18" fmla="*/ 866 w 867"/>
                <a:gd name="T19" fmla="*/ 32 h 214"/>
                <a:gd name="T20" fmla="*/ 866 w 867"/>
                <a:gd name="T21" fmla="*/ 47 h 214"/>
                <a:gd name="T22" fmla="*/ 850 w 867"/>
                <a:gd name="T23" fmla="*/ 47 h 214"/>
                <a:gd name="T24" fmla="*/ 834 w 867"/>
                <a:gd name="T25" fmla="*/ 47 h 214"/>
                <a:gd name="T26" fmla="*/ 818 w 867"/>
                <a:gd name="T27" fmla="*/ 47 h 214"/>
                <a:gd name="T28" fmla="*/ 810 w 867"/>
                <a:gd name="T29" fmla="*/ 55 h 214"/>
                <a:gd name="T30" fmla="*/ 794 w 867"/>
                <a:gd name="T31" fmla="*/ 63 h 214"/>
                <a:gd name="T32" fmla="*/ 779 w 867"/>
                <a:gd name="T33" fmla="*/ 79 h 214"/>
                <a:gd name="T34" fmla="*/ 763 w 867"/>
                <a:gd name="T35" fmla="*/ 87 h 214"/>
                <a:gd name="T36" fmla="*/ 755 w 867"/>
                <a:gd name="T37" fmla="*/ 95 h 214"/>
                <a:gd name="T38" fmla="*/ 739 w 867"/>
                <a:gd name="T39" fmla="*/ 95 h 214"/>
                <a:gd name="T40" fmla="*/ 723 w 867"/>
                <a:gd name="T41" fmla="*/ 95 h 214"/>
                <a:gd name="T42" fmla="*/ 707 w 867"/>
                <a:gd name="T43" fmla="*/ 95 h 214"/>
                <a:gd name="T44" fmla="*/ 691 w 867"/>
                <a:gd name="T45" fmla="*/ 95 h 214"/>
                <a:gd name="T46" fmla="*/ 667 w 867"/>
                <a:gd name="T47" fmla="*/ 95 h 214"/>
                <a:gd name="T48" fmla="*/ 644 w 867"/>
                <a:gd name="T49" fmla="*/ 95 h 214"/>
                <a:gd name="T50" fmla="*/ 628 w 867"/>
                <a:gd name="T51" fmla="*/ 95 h 214"/>
                <a:gd name="T52" fmla="*/ 508 w 867"/>
                <a:gd name="T53" fmla="*/ 142 h 214"/>
                <a:gd name="T54" fmla="*/ 493 w 867"/>
                <a:gd name="T55" fmla="*/ 142 h 214"/>
                <a:gd name="T56" fmla="*/ 477 w 867"/>
                <a:gd name="T57" fmla="*/ 142 h 214"/>
                <a:gd name="T58" fmla="*/ 461 w 867"/>
                <a:gd name="T59" fmla="*/ 142 h 214"/>
                <a:gd name="T60" fmla="*/ 445 w 867"/>
                <a:gd name="T61" fmla="*/ 142 h 214"/>
                <a:gd name="T62" fmla="*/ 421 w 867"/>
                <a:gd name="T63" fmla="*/ 142 h 214"/>
                <a:gd name="T64" fmla="*/ 405 w 867"/>
                <a:gd name="T65" fmla="*/ 142 h 214"/>
                <a:gd name="T66" fmla="*/ 389 w 867"/>
                <a:gd name="T67" fmla="*/ 142 h 214"/>
                <a:gd name="T68" fmla="*/ 373 w 867"/>
                <a:gd name="T69" fmla="*/ 142 h 214"/>
                <a:gd name="T70" fmla="*/ 358 w 867"/>
                <a:gd name="T71" fmla="*/ 142 h 214"/>
                <a:gd name="T72" fmla="*/ 342 w 867"/>
                <a:gd name="T73" fmla="*/ 142 h 214"/>
                <a:gd name="T74" fmla="*/ 342 w 867"/>
                <a:gd name="T75" fmla="*/ 158 h 214"/>
                <a:gd name="T76" fmla="*/ 342 w 867"/>
                <a:gd name="T77" fmla="*/ 174 h 214"/>
                <a:gd name="T78" fmla="*/ 342 w 867"/>
                <a:gd name="T79" fmla="*/ 189 h 214"/>
                <a:gd name="T80" fmla="*/ 334 w 867"/>
                <a:gd name="T81" fmla="*/ 205 h 214"/>
                <a:gd name="T82" fmla="*/ 326 w 867"/>
                <a:gd name="T83" fmla="*/ 213 h 214"/>
                <a:gd name="T84" fmla="*/ 310 w 867"/>
                <a:gd name="T85" fmla="*/ 213 h 214"/>
                <a:gd name="T86" fmla="*/ 294 w 867"/>
                <a:gd name="T87" fmla="*/ 213 h 214"/>
                <a:gd name="T88" fmla="*/ 278 w 867"/>
                <a:gd name="T89" fmla="*/ 213 h 214"/>
                <a:gd name="T90" fmla="*/ 262 w 867"/>
                <a:gd name="T91" fmla="*/ 205 h 214"/>
                <a:gd name="T92" fmla="*/ 254 w 867"/>
                <a:gd name="T93" fmla="*/ 189 h 214"/>
                <a:gd name="T94" fmla="*/ 246 w 867"/>
                <a:gd name="T95" fmla="*/ 181 h 214"/>
                <a:gd name="T96" fmla="*/ 246 w 867"/>
                <a:gd name="T97" fmla="*/ 120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867" h="214">
                  <a:moveTo>
                    <a:pt x="0" y="0"/>
                  </a:moveTo>
                  <a:lnTo>
                    <a:pt x="111" y="0"/>
                  </a:lnTo>
                  <a:lnTo>
                    <a:pt x="207" y="0"/>
                  </a:lnTo>
                  <a:lnTo>
                    <a:pt x="294" y="0"/>
                  </a:lnTo>
                  <a:lnTo>
                    <a:pt x="381" y="0"/>
                  </a:lnTo>
                  <a:lnTo>
                    <a:pt x="461" y="0"/>
                  </a:lnTo>
                  <a:lnTo>
                    <a:pt x="532" y="0"/>
                  </a:lnTo>
                  <a:lnTo>
                    <a:pt x="596" y="0"/>
                  </a:lnTo>
                  <a:lnTo>
                    <a:pt x="651" y="0"/>
                  </a:lnTo>
                  <a:lnTo>
                    <a:pt x="707" y="0"/>
                  </a:lnTo>
                  <a:lnTo>
                    <a:pt x="747" y="0"/>
                  </a:lnTo>
                  <a:lnTo>
                    <a:pt x="787" y="0"/>
                  </a:lnTo>
                  <a:lnTo>
                    <a:pt x="818" y="0"/>
                  </a:lnTo>
                  <a:lnTo>
                    <a:pt x="842" y="0"/>
                  </a:lnTo>
                  <a:lnTo>
                    <a:pt x="858" y="0"/>
                  </a:lnTo>
                  <a:lnTo>
                    <a:pt x="866" y="0"/>
                  </a:lnTo>
                  <a:lnTo>
                    <a:pt x="866" y="8"/>
                  </a:lnTo>
                  <a:lnTo>
                    <a:pt x="866" y="16"/>
                  </a:lnTo>
                  <a:lnTo>
                    <a:pt x="866" y="24"/>
                  </a:lnTo>
                  <a:lnTo>
                    <a:pt x="866" y="32"/>
                  </a:lnTo>
                  <a:lnTo>
                    <a:pt x="866" y="39"/>
                  </a:lnTo>
                  <a:lnTo>
                    <a:pt x="866" y="47"/>
                  </a:lnTo>
                  <a:lnTo>
                    <a:pt x="858" y="47"/>
                  </a:lnTo>
                  <a:lnTo>
                    <a:pt x="850" y="47"/>
                  </a:lnTo>
                  <a:lnTo>
                    <a:pt x="842" y="47"/>
                  </a:lnTo>
                  <a:lnTo>
                    <a:pt x="834" y="47"/>
                  </a:lnTo>
                  <a:lnTo>
                    <a:pt x="826" y="47"/>
                  </a:lnTo>
                  <a:lnTo>
                    <a:pt x="818" y="47"/>
                  </a:lnTo>
                  <a:lnTo>
                    <a:pt x="818" y="55"/>
                  </a:lnTo>
                  <a:lnTo>
                    <a:pt x="810" y="55"/>
                  </a:lnTo>
                  <a:lnTo>
                    <a:pt x="802" y="63"/>
                  </a:lnTo>
                  <a:lnTo>
                    <a:pt x="794" y="63"/>
                  </a:lnTo>
                  <a:lnTo>
                    <a:pt x="787" y="71"/>
                  </a:lnTo>
                  <a:lnTo>
                    <a:pt x="779" y="79"/>
                  </a:lnTo>
                  <a:lnTo>
                    <a:pt x="771" y="79"/>
                  </a:lnTo>
                  <a:lnTo>
                    <a:pt x="763" y="87"/>
                  </a:lnTo>
                  <a:lnTo>
                    <a:pt x="755" y="87"/>
                  </a:lnTo>
                  <a:lnTo>
                    <a:pt x="755" y="95"/>
                  </a:lnTo>
                  <a:lnTo>
                    <a:pt x="747" y="95"/>
                  </a:lnTo>
                  <a:lnTo>
                    <a:pt x="739" y="95"/>
                  </a:lnTo>
                  <a:lnTo>
                    <a:pt x="731" y="95"/>
                  </a:lnTo>
                  <a:lnTo>
                    <a:pt x="723" y="95"/>
                  </a:lnTo>
                  <a:lnTo>
                    <a:pt x="715" y="95"/>
                  </a:lnTo>
                  <a:lnTo>
                    <a:pt x="707" y="95"/>
                  </a:lnTo>
                  <a:lnTo>
                    <a:pt x="699" y="95"/>
                  </a:lnTo>
                  <a:lnTo>
                    <a:pt x="691" y="95"/>
                  </a:lnTo>
                  <a:lnTo>
                    <a:pt x="683" y="95"/>
                  </a:lnTo>
                  <a:lnTo>
                    <a:pt x="667" y="95"/>
                  </a:lnTo>
                  <a:lnTo>
                    <a:pt x="659" y="95"/>
                  </a:lnTo>
                  <a:lnTo>
                    <a:pt x="644" y="95"/>
                  </a:lnTo>
                  <a:lnTo>
                    <a:pt x="636" y="95"/>
                  </a:lnTo>
                  <a:lnTo>
                    <a:pt x="628" y="95"/>
                  </a:lnTo>
                  <a:lnTo>
                    <a:pt x="620" y="95"/>
                  </a:lnTo>
                  <a:lnTo>
                    <a:pt x="508" y="142"/>
                  </a:lnTo>
                  <a:lnTo>
                    <a:pt x="501" y="142"/>
                  </a:lnTo>
                  <a:lnTo>
                    <a:pt x="493" y="142"/>
                  </a:lnTo>
                  <a:lnTo>
                    <a:pt x="485" y="142"/>
                  </a:lnTo>
                  <a:lnTo>
                    <a:pt x="477" y="142"/>
                  </a:lnTo>
                  <a:lnTo>
                    <a:pt x="469" y="142"/>
                  </a:lnTo>
                  <a:lnTo>
                    <a:pt x="461" y="142"/>
                  </a:lnTo>
                  <a:lnTo>
                    <a:pt x="453" y="142"/>
                  </a:lnTo>
                  <a:lnTo>
                    <a:pt x="445" y="142"/>
                  </a:lnTo>
                  <a:lnTo>
                    <a:pt x="437" y="142"/>
                  </a:lnTo>
                  <a:lnTo>
                    <a:pt x="421" y="142"/>
                  </a:lnTo>
                  <a:lnTo>
                    <a:pt x="413" y="142"/>
                  </a:lnTo>
                  <a:lnTo>
                    <a:pt x="405" y="142"/>
                  </a:lnTo>
                  <a:lnTo>
                    <a:pt x="397" y="142"/>
                  </a:lnTo>
                  <a:lnTo>
                    <a:pt x="389" y="142"/>
                  </a:lnTo>
                  <a:lnTo>
                    <a:pt x="381" y="142"/>
                  </a:lnTo>
                  <a:lnTo>
                    <a:pt x="373" y="142"/>
                  </a:lnTo>
                  <a:lnTo>
                    <a:pt x="365" y="142"/>
                  </a:lnTo>
                  <a:lnTo>
                    <a:pt x="358" y="142"/>
                  </a:lnTo>
                  <a:lnTo>
                    <a:pt x="350" y="142"/>
                  </a:lnTo>
                  <a:lnTo>
                    <a:pt x="342" y="142"/>
                  </a:lnTo>
                  <a:lnTo>
                    <a:pt x="342" y="150"/>
                  </a:lnTo>
                  <a:lnTo>
                    <a:pt x="342" y="158"/>
                  </a:lnTo>
                  <a:lnTo>
                    <a:pt x="342" y="166"/>
                  </a:lnTo>
                  <a:lnTo>
                    <a:pt x="342" y="174"/>
                  </a:lnTo>
                  <a:lnTo>
                    <a:pt x="342" y="181"/>
                  </a:lnTo>
                  <a:lnTo>
                    <a:pt x="342" y="189"/>
                  </a:lnTo>
                  <a:lnTo>
                    <a:pt x="342" y="197"/>
                  </a:lnTo>
                  <a:lnTo>
                    <a:pt x="334" y="205"/>
                  </a:lnTo>
                  <a:lnTo>
                    <a:pt x="326" y="205"/>
                  </a:lnTo>
                  <a:lnTo>
                    <a:pt x="326" y="213"/>
                  </a:lnTo>
                  <a:lnTo>
                    <a:pt x="318" y="213"/>
                  </a:lnTo>
                  <a:lnTo>
                    <a:pt x="310" y="213"/>
                  </a:lnTo>
                  <a:lnTo>
                    <a:pt x="302" y="213"/>
                  </a:lnTo>
                  <a:lnTo>
                    <a:pt x="294" y="213"/>
                  </a:lnTo>
                  <a:lnTo>
                    <a:pt x="286" y="213"/>
                  </a:lnTo>
                  <a:lnTo>
                    <a:pt x="278" y="213"/>
                  </a:lnTo>
                  <a:lnTo>
                    <a:pt x="270" y="213"/>
                  </a:lnTo>
                  <a:lnTo>
                    <a:pt x="262" y="205"/>
                  </a:lnTo>
                  <a:lnTo>
                    <a:pt x="254" y="197"/>
                  </a:lnTo>
                  <a:lnTo>
                    <a:pt x="254" y="189"/>
                  </a:lnTo>
                  <a:lnTo>
                    <a:pt x="246" y="189"/>
                  </a:lnTo>
                  <a:lnTo>
                    <a:pt x="246" y="181"/>
                  </a:lnTo>
                  <a:lnTo>
                    <a:pt x="246" y="174"/>
                  </a:lnTo>
                  <a:lnTo>
                    <a:pt x="246" y="120"/>
                  </a:lnTo>
                  <a:lnTo>
                    <a:pt x="0" y="0"/>
                  </a:lnTo>
                </a:path>
              </a:pathLst>
            </a:custGeom>
            <a:grpFill/>
            <a:ln w="9525" cap="rnd" cmpd="sng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7" name="Freeform 16"/>
            <p:cNvSpPr>
              <a:spLocks/>
            </p:cNvSpPr>
            <p:nvPr/>
          </p:nvSpPr>
          <p:spPr bwMode="auto">
            <a:xfrm>
              <a:off x="1980" y="2840"/>
              <a:ext cx="626" cy="221"/>
            </a:xfrm>
            <a:custGeom>
              <a:avLst/>
              <a:gdLst>
                <a:gd name="T0" fmla="*/ 625 w 626"/>
                <a:gd name="T1" fmla="*/ 0 h 221"/>
                <a:gd name="T2" fmla="*/ 625 w 626"/>
                <a:gd name="T3" fmla="*/ 49 h 221"/>
                <a:gd name="T4" fmla="*/ 585 w 626"/>
                <a:gd name="T5" fmla="*/ 49 h 221"/>
                <a:gd name="T6" fmla="*/ 513 w 626"/>
                <a:gd name="T7" fmla="*/ 98 h 221"/>
                <a:gd name="T8" fmla="*/ 377 w 626"/>
                <a:gd name="T9" fmla="*/ 98 h 221"/>
                <a:gd name="T10" fmla="*/ 264 w 626"/>
                <a:gd name="T11" fmla="*/ 147 h 221"/>
                <a:gd name="T12" fmla="*/ 96 w 626"/>
                <a:gd name="T13" fmla="*/ 147 h 221"/>
                <a:gd name="T14" fmla="*/ 96 w 626"/>
                <a:gd name="T15" fmla="*/ 204 h 221"/>
                <a:gd name="T16" fmla="*/ 70 w 626"/>
                <a:gd name="T17" fmla="*/ 220 h 221"/>
                <a:gd name="T18" fmla="*/ 26 w 626"/>
                <a:gd name="T19" fmla="*/ 220 h 221"/>
                <a:gd name="T20" fmla="*/ 0 w 626"/>
                <a:gd name="T21" fmla="*/ 199 h 221"/>
                <a:gd name="T22" fmla="*/ 0 w 626"/>
                <a:gd name="T23" fmla="*/ 147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26" h="221">
                  <a:moveTo>
                    <a:pt x="625" y="0"/>
                  </a:moveTo>
                  <a:lnTo>
                    <a:pt x="625" y="49"/>
                  </a:lnTo>
                  <a:lnTo>
                    <a:pt x="585" y="49"/>
                  </a:lnTo>
                  <a:lnTo>
                    <a:pt x="513" y="98"/>
                  </a:lnTo>
                  <a:lnTo>
                    <a:pt x="377" y="98"/>
                  </a:lnTo>
                  <a:lnTo>
                    <a:pt x="264" y="147"/>
                  </a:lnTo>
                  <a:lnTo>
                    <a:pt x="96" y="147"/>
                  </a:lnTo>
                  <a:lnTo>
                    <a:pt x="96" y="204"/>
                  </a:lnTo>
                  <a:lnTo>
                    <a:pt x="70" y="220"/>
                  </a:lnTo>
                  <a:lnTo>
                    <a:pt x="26" y="220"/>
                  </a:lnTo>
                  <a:lnTo>
                    <a:pt x="0" y="199"/>
                  </a:lnTo>
                  <a:lnTo>
                    <a:pt x="0" y="147"/>
                  </a:lnTo>
                </a:path>
              </a:pathLst>
            </a:custGeom>
            <a:grpFill/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8" name="Freeform 17"/>
            <p:cNvSpPr>
              <a:spLocks/>
            </p:cNvSpPr>
            <p:nvPr/>
          </p:nvSpPr>
          <p:spPr bwMode="auto">
            <a:xfrm>
              <a:off x="4088" y="2373"/>
              <a:ext cx="867" cy="211"/>
            </a:xfrm>
            <a:custGeom>
              <a:avLst/>
              <a:gdLst>
                <a:gd name="T0" fmla="*/ 659 w 867"/>
                <a:gd name="T1" fmla="*/ 0 h 211"/>
                <a:gd name="T2" fmla="*/ 405 w 867"/>
                <a:gd name="T3" fmla="*/ 0 h 211"/>
                <a:gd name="T4" fmla="*/ 215 w 867"/>
                <a:gd name="T5" fmla="*/ 0 h 211"/>
                <a:gd name="T6" fmla="*/ 79 w 867"/>
                <a:gd name="T7" fmla="*/ 0 h 211"/>
                <a:gd name="T8" fmla="*/ 8 w 867"/>
                <a:gd name="T9" fmla="*/ 0 h 211"/>
                <a:gd name="T10" fmla="*/ 0 w 867"/>
                <a:gd name="T11" fmla="*/ 16 h 211"/>
                <a:gd name="T12" fmla="*/ 0 w 867"/>
                <a:gd name="T13" fmla="*/ 39 h 211"/>
                <a:gd name="T14" fmla="*/ 16 w 867"/>
                <a:gd name="T15" fmla="*/ 47 h 211"/>
                <a:gd name="T16" fmla="*/ 40 w 867"/>
                <a:gd name="T17" fmla="*/ 47 h 211"/>
                <a:gd name="T18" fmla="*/ 56 w 867"/>
                <a:gd name="T19" fmla="*/ 54 h 211"/>
                <a:gd name="T20" fmla="*/ 79 w 867"/>
                <a:gd name="T21" fmla="*/ 70 h 211"/>
                <a:gd name="T22" fmla="*/ 103 w 867"/>
                <a:gd name="T23" fmla="*/ 86 h 211"/>
                <a:gd name="T24" fmla="*/ 119 w 867"/>
                <a:gd name="T25" fmla="*/ 93 h 211"/>
                <a:gd name="T26" fmla="*/ 143 w 867"/>
                <a:gd name="T27" fmla="*/ 93 h 211"/>
                <a:gd name="T28" fmla="*/ 167 w 867"/>
                <a:gd name="T29" fmla="*/ 93 h 211"/>
                <a:gd name="T30" fmla="*/ 199 w 867"/>
                <a:gd name="T31" fmla="*/ 93 h 211"/>
                <a:gd name="T32" fmla="*/ 230 w 867"/>
                <a:gd name="T33" fmla="*/ 93 h 211"/>
                <a:gd name="T34" fmla="*/ 262 w 867"/>
                <a:gd name="T35" fmla="*/ 93 h 211"/>
                <a:gd name="T36" fmla="*/ 286 w 867"/>
                <a:gd name="T37" fmla="*/ 101 h 211"/>
                <a:gd name="T38" fmla="*/ 302 w 867"/>
                <a:gd name="T39" fmla="*/ 109 h 211"/>
                <a:gd name="T40" fmla="*/ 326 w 867"/>
                <a:gd name="T41" fmla="*/ 109 h 211"/>
                <a:gd name="T42" fmla="*/ 334 w 867"/>
                <a:gd name="T43" fmla="*/ 124 h 211"/>
                <a:gd name="T44" fmla="*/ 358 w 867"/>
                <a:gd name="T45" fmla="*/ 132 h 211"/>
                <a:gd name="T46" fmla="*/ 373 w 867"/>
                <a:gd name="T47" fmla="*/ 140 h 211"/>
                <a:gd name="T48" fmla="*/ 397 w 867"/>
                <a:gd name="T49" fmla="*/ 140 h 211"/>
                <a:gd name="T50" fmla="*/ 421 w 867"/>
                <a:gd name="T51" fmla="*/ 140 h 211"/>
                <a:gd name="T52" fmla="*/ 453 w 867"/>
                <a:gd name="T53" fmla="*/ 140 h 211"/>
                <a:gd name="T54" fmla="*/ 477 w 867"/>
                <a:gd name="T55" fmla="*/ 140 h 211"/>
                <a:gd name="T56" fmla="*/ 501 w 867"/>
                <a:gd name="T57" fmla="*/ 140 h 211"/>
                <a:gd name="T58" fmla="*/ 524 w 867"/>
                <a:gd name="T59" fmla="*/ 140 h 211"/>
                <a:gd name="T60" fmla="*/ 524 w 867"/>
                <a:gd name="T61" fmla="*/ 163 h 211"/>
                <a:gd name="T62" fmla="*/ 524 w 867"/>
                <a:gd name="T63" fmla="*/ 187 h 211"/>
                <a:gd name="T64" fmla="*/ 540 w 867"/>
                <a:gd name="T65" fmla="*/ 202 h 211"/>
                <a:gd name="T66" fmla="*/ 556 w 867"/>
                <a:gd name="T67" fmla="*/ 210 h 211"/>
                <a:gd name="T68" fmla="*/ 580 w 867"/>
                <a:gd name="T69" fmla="*/ 210 h 211"/>
                <a:gd name="T70" fmla="*/ 604 w 867"/>
                <a:gd name="T71" fmla="*/ 202 h 211"/>
                <a:gd name="T72" fmla="*/ 620 w 867"/>
                <a:gd name="T73" fmla="*/ 187 h 211"/>
                <a:gd name="T74" fmla="*/ 620 w 867"/>
                <a:gd name="T75" fmla="*/ 163 h 211"/>
                <a:gd name="T76" fmla="*/ 620 w 867"/>
                <a:gd name="T77" fmla="*/ 140 h 211"/>
                <a:gd name="T78" fmla="*/ 644 w 867"/>
                <a:gd name="T79" fmla="*/ 140 h 211"/>
                <a:gd name="T80" fmla="*/ 667 w 867"/>
                <a:gd name="T81" fmla="*/ 140 h 211"/>
                <a:gd name="T82" fmla="*/ 691 w 867"/>
                <a:gd name="T83" fmla="*/ 140 h 211"/>
                <a:gd name="T84" fmla="*/ 866 w 867"/>
                <a:gd name="T85" fmla="*/ 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867" h="211">
                  <a:moveTo>
                    <a:pt x="866" y="0"/>
                  </a:moveTo>
                  <a:lnTo>
                    <a:pt x="755" y="0"/>
                  </a:lnTo>
                  <a:lnTo>
                    <a:pt x="659" y="0"/>
                  </a:lnTo>
                  <a:lnTo>
                    <a:pt x="572" y="0"/>
                  </a:lnTo>
                  <a:lnTo>
                    <a:pt x="485" y="0"/>
                  </a:lnTo>
                  <a:lnTo>
                    <a:pt x="405" y="0"/>
                  </a:lnTo>
                  <a:lnTo>
                    <a:pt x="334" y="0"/>
                  </a:lnTo>
                  <a:lnTo>
                    <a:pt x="270" y="0"/>
                  </a:lnTo>
                  <a:lnTo>
                    <a:pt x="215" y="0"/>
                  </a:lnTo>
                  <a:lnTo>
                    <a:pt x="159" y="0"/>
                  </a:lnTo>
                  <a:lnTo>
                    <a:pt x="119" y="0"/>
                  </a:lnTo>
                  <a:lnTo>
                    <a:pt x="79" y="0"/>
                  </a:lnTo>
                  <a:lnTo>
                    <a:pt x="48" y="0"/>
                  </a:lnTo>
                  <a:lnTo>
                    <a:pt x="24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8"/>
                  </a:lnTo>
                  <a:lnTo>
                    <a:pt x="0" y="16"/>
                  </a:lnTo>
                  <a:lnTo>
                    <a:pt x="0" y="23"/>
                  </a:lnTo>
                  <a:lnTo>
                    <a:pt x="0" y="31"/>
                  </a:lnTo>
                  <a:lnTo>
                    <a:pt x="0" y="39"/>
                  </a:lnTo>
                  <a:lnTo>
                    <a:pt x="0" y="47"/>
                  </a:lnTo>
                  <a:lnTo>
                    <a:pt x="8" y="47"/>
                  </a:lnTo>
                  <a:lnTo>
                    <a:pt x="16" y="47"/>
                  </a:lnTo>
                  <a:lnTo>
                    <a:pt x="24" y="47"/>
                  </a:lnTo>
                  <a:lnTo>
                    <a:pt x="32" y="47"/>
                  </a:lnTo>
                  <a:lnTo>
                    <a:pt x="40" y="47"/>
                  </a:lnTo>
                  <a:lnTo>
                    <a:pt x="48" y="47"/>
                  </a:lnTo>
                  <a:lnTo>
                    <a:pt x="48" y="54"/>
                  </a:lnTo>
                  <a:lnTo>
                    <a:pt x="56" y="54"/>
                  </a:lnTo>
                  <a:lnTo>
                    <a:pt x="64" y="62"/>
                  </a:lnTo>
                  <a:lnTo>
                    <a:pt x="72" y="62"/>
                  </a:lnTo>
                  <a:lnTo>
                    <a:pt x="79" y="70"/>
                  </a:lnTo>
                  <a:lnTo>
                    <a:pt x="87" y="78"/>
                  </a:lnTo>
                  <a:lnTo>
                    <a:pt x="95" y="78"/>
                  </a:lnTo>
                  <a:lnTo>
                    <a:pt x="103" y="86"/>
                  </a:lnTo>
                  <a:lnTo>
                    <a:pt x="111" y="86"/>
                  </a:lnTo>
                  <a:lnTo>
                    <a:pt x="111" y="93"/>
                  </a:lnTo>
                  <a:lnTo>
                    <a:pt x="119" y="93"/>
                  </a:lnTo>
                  <a:lnTo>
                    <a:pt x="127" y="93"/>
                  </a:lnTo>
                  <a:lnTo>
                    <a:pt x="135" y="93"/>
                  </a:lnTo>
                  <a:lnTo>
                    <a:pt x="143" y="93"/>
                  </a:lnTo>
                  <a:lnTo>
                    <a:pt x="151" y="93"/>
                  </a:lnTo>
                  <a:lnTo>
                    <a:pt x="159" y="93"/>
                  </a:lnTo>
                  <a:lnTo>
                    <a:pt x="167" y="93"/>
                  </a:lnTo>
                  <a:lnTo>
                    <a:pt x="175" y="93"/>
                  </a:lnTo>
                  <a:lnTo>
                    <a:pt x="183" y="93"/>
                  </a:lnTo>
                  <a:lnTo>
                    <a:pt x="199" y="93"/>
                  </a:lnTo>
                  <a:lnTo>
                    <a:pt x="207" y="93"/>
                  </a:lnTo>
                  <a:lnTo>
                    <a:pt x="222" y="93"/>
                  </a:lnTo>
                  <a:lnTo>
                    <a:pt x="230" y="93"/>
                  </a:lnTo>
                  <a:lnTo>
                    <a:pt x="238" y="93"/>
                  </a:lnTo>
                  <a:lnTo>
                    <a:pt x="246" y="93"/>
                  </a:lnTo>
                  <a:lnTo>
                    <a:pt x="262" y="93"/>
                  </a:lnTo>
                  <a:lnTo>
                    <a:pt x="270" y="101"/>
                  </a:lnTo>
                  <a:lnTo>
                    <a:pt x="278" y="101"/>
                  </a:lnTo>
                  <a:lnTo>
                    <a:pt x="286" y="101"/>
                  </a:lnTo>
                  <a:lnTo>
                    <a:pt x="294" y="101"/>
                  </a:lnTo>
                  <a:lnTo>
                    <a:pt x="302" y="101"/>
                  </a:lnTo>
                  <a:lnTo>
                    <a:pt x="302" y="109"/>
                  </a:lnTo>
                  <a:lnTo>
                    <a:pt x="310" y="109"/>
                  </a:lnTo>
                  <a:lnTo>
                    <a:pt x="318" y="109"/>
                  </a:lnTo>
                  <a:lnTo>
                    <a:pt x="326" y="109"/>
                  </a:lnTo>
                  <a:lnTo>
                    <a:pt x="326" y="117"/>
                  </a:lnTo>
                  <a:lnTo>
                    <a:pt x="334" y="117"/>
                  </a:lnTo>
                  <a:lnTo>
                    <a:pt x="334" y="124"/>
                  </a:lnTo>
                  <a:lnTo>
                    <a:pt x="342" y="124"/>
                  </a:lnTo>
                  <a:lnTo>
                    <a:pt x="350" y="132"/>
                  </a:lnTo>
                  <a:lnTo>
                    <a:pt x="358" y="132"/>
                  </a:lnTo>
                  <a:lnTo>
                    <a:pt x="358" y="140"/>
                  </a:lnTo>
                  <a:lnTo>
                    <a:pt x="365" y="140"/>
                  </a:lnTo>
                  <a:lnTo>
                    <a:pt x="373" y="140"/>
                  </a:lnTo>
                  <a:lnTo>
                    <a:pt x="381" y="140"/>
                  </a:lnTo>
                  <a:lnTo>
                    <a:pt x="389" y="140"/>
                  </a:lnTo>
                  <a:lnTo>
                    <a:pt x="397" y="140"/>
                  </a:lnTo>
                  <a:lnTo>
                    <a:pt x="405" y="140"/>
                  </a:lnTo>
                  <a:lnTo>
                    <a:pt x="413" y="140"/>
                  </a:lnTo>
                  <a:lnTo>
                    <a:pt x="421" y="140"/>
                  </a:lnTo>
                  <a:lnTo>
                    <a:pt x="429" y="140"/>
                  </a:lnTo>
                  <a:lnTo>
                    <a:pt x="445" y="140"/>
                  </a:lnTo>
                  <a:lnTo>
                    <a:pt x="453" y="140"/>
                  </a:lnTo>
                  <a:lnTo>
                    <a:pt x="461" y="140"/>
                  </a:lnTo>
                  <a:lnTo>
                    <a:pt x="469" y="140"/>
                  </a:lnTo>
                  <a:lnTo>
                    <a:pt x="477" y="140"/>
                  </a:lnTo>
                  <a:lnTo>
                    <a:pt x="485" y="140"/>
                  </a:lnTo>
                  <a:lnTo>
                    <a:pt x="493" y="140"/>
                  </a:lnTo>
                  <a:lnTo>
                    <a:pt x="501" y="140"/>
                  </a:lnTo>
                  <a:lnTo>
                    <a:pt x="508" y="140"/>
                  </a:lnTo>
                  <a:lnTo>
                    <a:pt x="516" y="140"/>
                  </a:lnTo>
                  <a:lnTo>
                    <a:pt x="524" y="140"/>
                  </a:lnTo>
                  <a:lnTo>
                    <a:pt x="524" y="148"/>
                  </a:lnTo>
                  <a:lnTo>
                    <a:pt x="524" y="156"/>
                  </a:lnTo>
                  <a:lnTo>
                    <a:pt x="524" y="163"/>
                  </a:lnTo>
                  <a:lnTo>
                    <a:pt x="524" y="171"/>
                  </a:lnTo>
                  <a:lnTo>
                    <a:pt x="524" y="179"/>
                  </a:lnTo>
                  <a:lnTo>
                    <a:pt x="524" y="187"/>
                  </a:lnTo>
                  <a:lnTo>
                    <a:pt x="524" y="194"/>
                  </a:lnTo>
                  <a:lnTo>
                    <a:pt x="532" y="202"/>
                  </a:lnTo>
                  <a:lnTo>
                    <a:pt x="540" y="202"/>
                  </a:lnTo>
                  <a:lnTo>
                    <a:pt x="540" y="210"/>
                  </a:lnTo>
                  <a:lnTo>
                    <a:pt x="548" y="210"/>
                  </a:lnTo>
                  <a:lnTo>
                    <a:pt x="556" y="210"/>
                  </a:lnTo>
                  <a:lnTo>
                    <a:pt x="564" y="210"/>
                  </a:lnTo>
                  <a:lnTo>
                    <a:pt x="572" y="210"/>
                  </a:lnTo>
                  <a:lnTo>
                    <a:pt x="580" y="210"/>
                  </a:lnTo>
                  <a:lnTo>
                    <a:pt x="588" y="210"/>
                  </a:lnTo>
                  <a:lnTo>
                    <a:pt x="596" y="210"/>
                  </a:lnTo>
                  <a:lnTo>
                    <a:pt x="604" y="202"/>
                  </a:lnTo>
                  <a:lnTo>
                    <a:pt x="612" y="194"/>
                  </a:lnTo>
                  <a:lnTo>
                    <a:pt x="612" y="187"/>
                  </a:lnTo>
                  <a:lnTo>
                    <a:pt x="620" y="187"/>
                  </a:lnTo>
                  <a:lnTo>
                    <a:pt x="620" y="179"/>
                  </a:lnTo>
                  <a:lnTo>
                    <a:pt x="620" y="171"/>
                  </a:lnTo>
                  <a:lnTo>
                    <a:pt x="620" y="163"/>
                  </a:lnTo>
                  <a:lnTo>
                    <a:pt x="620" y="156"/>
                  </a:lnTo>
                  <a:lnTo>
                    <a:pt x="620" y="148"/>
                  </a:lnTo>
                  <a:lnTo>
                    <a:pt x="620" y="140"/>
                  </a:lnTo>
                  <a:lnTo>
                    <a:pt x="628" y="140"/>
                  </a:lnTo>
                  <a:lnTo>
                    <a:pt x="636" y="140"/>
                  </a:lnTo>
                  <a:lnTo>
                    <a:pt x="644" y="140"/>
                  </a:lnTo>
                  <a:lnTo>
                    <a:pt x="651" y="140"/>
                  </a:lnTo>
                  <a:lnTo>
                    <a:pt x="659" y="140"/>
                  </a:lnTo>
                  <a:lnTo>
                    <a:pt x="667" y="140"/>
                  </a:lnTo>
                  <a:lnTo>
                    <a:pt x="675" y="140"/>
                  </a:lnTo>
                  <a:lnTo>
                    <a:pt x="683" y="140"/>
                  </a:lnTo>
                  <a:lnTo>
                    <a:pt x="691" y="140"/>
                  </a:lnTo>
                  <a:lnTo>
                    <a:pt x="699" y="140"/>
                  </a:lnTo>
                  <a:lnTo>
                    <a:pt x="707" y="140"/>
                  </a:lnTo>
                  <a:lnTo>
                    <a:pt x="866" y="0"/>
                  </a:lnTo>
                </a:path>
              </a:pathLst>
            </a:custGeom>
            <a:grpFill/>
            <a:ln w="9525" cap="rnd" cmpd="sng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9" name="Freeform 18"/>
            <p:cNvSpPr>
              <a:spLocks/>
            </p:cNvSpPr>
            <p:nvPr/>
          </p:nvSpPr>
          <p:spPr bwMode="auto">
            <a:xfrm>
              <a:off x="4085" y="2373"/>
              <a:ext cx="627" cy="217"/>
            </a:xfrm>
            <a:custGeom>
              <a:avLst/>
              <a:gdLst>
                <a:gd name="T0" fmla="*/ 0 w 627"/>
                <a:gd name="T1" fmla="*/ 0 h 217"/>
                <a:gd name="T2" fmla="*/ 0 w 627"/>
                <a:gd name="T3" fmla="*/ 48 h 217"/>
                <a:gd name="T4" fmla="*/ 40 w 627"/>
                <a:gd name="T5" fmla="*/ 48 h 217"/>
                <a:gd name="T6" fmla="*/ 112 w 627"/>
                <a:gd name="T7" fmla="*/ 96 h 217"/>
                <a:gd name="T8" fmla="*/ 248 w 627"/>
                <a:gd name="T9" fmla="*/ 96 h 217"/>
                <a:gd name="T10" fmla="*/ 359 w 627"/>
                <a:gd name="T11" fmla="*/ 144 h 217"/>
                <a:gd name="T12" fmla="*/ 530 w 627"/>
                <a:gd name="T13" fmla="*/ 144 h 217"/>
                <a:gd name="T14" fmla="*/ 528 w 627"/>
                <a:gd name="T15" fmla="*/ 200 h 217"/>
                <a:gd name="T16" fmla="*/ 554 w 627"/>
                <a:gd name="T17" fmla="*/ 216 h 217"/>
                <a:gd name="T18" fmla="*/ 598 w 627"/>
                <a:gd name="T19" fmla="*/ 216 h 217"/>
                <a:gd name="T20" fmla="*/ 626 w 627"/>
                <a:gd name="T21" fmla="*/ 203 h 217"/>
                <a:gd name="T22" fmla="*/ 626 w 627"/>
                <a:gd name="T23" fmla="*/ 144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27" h="217">
                  <a:moveTo>
                    <a:pt x="0" y="0"/>
                  </a:moveTo>
                  <a:lnTo>
                    <a:pt x="0" y="48"/>
                  </a:lnTo>
                  <a:lnTo>
                    <a:pt x="40" y="48"/>
                  </a:lnTo>
                  <a:lnTo>
                    <a:pt x="112" y="96"/>
                  </a:lnTo>
                  <a:lnTo>
                    <a:pt x="248" y="96"/>
                  </a:lnTo>
                  <a:lnTo>
                    <a:pt x="359" y="144"/>
                  </a:lnTo>
                  <a:lnTo>
                    <a:pt x="530" y="144"/>
                  </a:lnTo>
                  <a:lnTo>
                    <a:pt x="528" y="200"/>
                  </a:lnTo>
                  <a:lnTo>
                    <a:pt x="554" y="216"/>
                  </a:lnTo>
                  <a:lnTo>
                    <a:pt x="598" y="216"/>
                  </a:lnTo>
                  <a:lnTo>
                    <a:pt x="626" y="203"/>
                  </a:lnTo>
                  <a:lnTo>
                    <a:pt x="626" y="144"/>
                  </a:lnTo>
                </a:path>
              </a:pathLst>
            </a:custGeom>
            <a:grpFill/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0" name="Freeform 19"/>
            <p:cNvSpPr>
              <a:spLocks/>
            </p:cNvSpPr>
            <p:nvPr/>
          </p:nvSpPr>
          <p:spPr bwMode="auto">
            <a:xfrm>
              <a:off x="4369" y="2373"/>
              <a:ext cx="867" cy="214"/>
            </a:xfrm>
            <a:custGeom>
              <a:avLst/>
              <a:gdLst>
                <a:gd name="T0" fmla="*/ 111 w 867"/>
                <a:gd name="T1" fmla="*/ 0 h 214"/>
                <a:gd name="T2" fmla="*/ 294 w 867"/>
                <a:gd name="T3" fmla="*/ 0 h 214"/>
                <a:gd name="T4" fmla="*/ 461 w 867"/>
                <a:gd name="T5" fmla="*/ 0 h 214"/>
                <a:gd name="T6" fmla="*/ 596 w 867"/>
                <a:gd name="T7" fmla="*/ 0 h 214"/>
                <a:gd name="T8" fmla="*/ 707 w 867"/>
                <a:gd name="T9" fmla="*/ 0 h 214"/>
                <a:gd name="T10" fmla="*/ 787 w 867"/>
                <a:gd name="T11" fmla="*/ 0 h 214"/>
                <a:gd name="T12" fmla="*/ 842 w 867"/>
                <a:gd name="T13" fmla="*/ 0 h 214"/>
                <a:gd name="T14" fmla="*/ 866 w 867"/>
                <a:gd name="T15" fmla="*/ 0 h 214"/>
                <a:gd name="T16" fmla="*/ 866 w 867"/>
                <a:gd name="T17" fmla="*/ 16 h 214"/>
                <a:gd name="T18" fmla="*/ 866 w 867"/>
                <a:gd name="T19" fmla="*/ 32 h 214"/>
                <a:gd name="T20" fmla="*/ 866 w 867"/>
                <a:gd name="T21" fmla="*/ 47 h 214"/>
                <a:gd name="T22" fmla="*/ 850 w 867"/>
                <a:gd name="T23" fmla="*/ 47 h 214"/>
                <a:gd name="T24" fmla="*/ 834 w 867"/>
                <a:gd name="T25" fmla="*/ 47 h 214"/>
                <a:gd name="T26" fmla="*/ 818 w 867"/>
                <a:gd name="T27" fmla="*/ 47 h 214"/>
                <a:gd name="T28" fmla="*/ 810 w 867"/>
                <a:gd name="T29" fmla="*/ 55 h 214"/>
                <a:gd name="T30" fmla="*/ 794 w 867"/>
                <a:gd name="T31" fmla="*/ 63 h 214"/>
                <a:gd name="T32" fmla="*/ 779 w 867"/>
                <a:gd name="T33" fmla="*/ 79 h 214"/>
                <a:gd name="T34" fmla="*/ 763 w 867"/>
                <a:gd name="T35" fmla="*/ 87 h 214"/>
                <a:gd name="T36" fmla="*/ 755 w 867"/>
                <a:gd name="T37" fmla="*/ 95 h 214"/>
                <a:gd name="T38" fmla="*/ 739 w 867"/>
                <a:gd name="T39" fmla="*/ 95 h 214"/>
                <a:gd name="T40" fmla="*/ 723 w 867"/>
                <a:gd name="T41" fmla="*/ 95 h 214"/>
                <a:gd name="T42" fmla="*/ 707 w 867"/>
                <a:gd name="T43" fmla="*/ 95 h 214"/>
                <a:gd name="T44" fmla="*/ 691 w 867"/>
                <a:gd name="T45" fmla="*/ 95 h 214"/>
                <a:gd name="T46" fmla="*/ 667 w 867"/>
                <a:gd name="T47" fmla="*/ 95 h 214"/>
                <a:gd name="T48" fmla="*/ 644 w 867"/>
                <a:gd name="T49" fmla="*/ 95 h 214"/>
                <a:gd name="T50" fmla="*/ 628 w 867"/>
                <a:gd name="T51" fmla="*/ 95 h 214"/>
                <a:gd name="T52" fmla="*/ 508 w 867"/>
                <a:gd name="T53" fmla="*/ 142 h 214"/>
                <a:gd name="T54" fmla="*/ 493 w 867"/>
                <a:gd name="T55" fmla="*/ 142 h 214"/>
                <a:gd name="T56" fmla="*/ 477 w 867"/>
                <a:gd name="T57" fmla="*/ 142 h 214"/>
                <a:gd name="T58" fmla="*/ 461 w 867"/>
                <a:gd name="T59" fmla="*/ 142 h 214"/>
                <a:gd name="T60" fmla="*/ 445 w 867"/>
                <a:gd name="T61" fmla="*/ 142 h 214"/>
                <a:gd name="T62" fmla="*/ 421 w 867"/>
                <a:gd name="T63" fmla="*/ 142 h 214"/>
                <a:gd name="T64" fmla="*/ 405 w 867"/>
                <a:gd name="T65" fmla="*/ 142 h 214"/>
                <a:gd name="T66" fmla="*/ 389 w 867"/>
                <a:gd name="T67" fmla="*/ 142 h 214"/>
                <a:gd name="T68" fmla="*/ 373 w 867"/>
                <a:gd name="T69" fmla="*/ 142 h 214"/>
                <a:gd name="T70" fmla="*/ 358 w 867"/>
                <a:gd name="T71" fmla="*/ 142 h 214"/>
                <a:gd name="T72" fmla="*/ 342 w 867"/>
                <a:gd name="T73" fmla="*/ 142 h 214"/>
                <a:gd name="T74" fmla="*/ 342 w 867"/>
                <a:gd name="T75" fmla="*/ 158 h 214"/>
                <a:gd name="T76" fmla="*/ 342 w 867"/>
                <a:gd name="T77" fmla="*/ 174 h 214"/>
                <a:gd name="T78" fmla="*/ 342 w 867"/>
                <a:gd name="T79" fmla="*/ 189 h 214"/>
                <a:gd name="T80" fmla="*/ 334 w 867"/>
                <a:gd name="T81" fmla="*/ 205 h 214"/>
                <a:gd name="T82" fmla="*/ 326 w 867"/>
                <a:gd name="T83" fmla="*/ 213 h 214"/>
                <a:gd name="T84" fmla="*/ 310 w 867"/>
                <a:gd name="T85" fmla="*/ 213 h 214"/>
                <a:gd name="T86" fmla="*/ 294 w 867"/>
                <a:gd name="T87" fmla="*/ 213 h 214"/>
                <a:gd name="T88" fmla="*/ 278 w 867"/>
                <a:gd name="T89" fmla="*/ 213 h 214"/>
                <a:gd name="T90" fmla="*/ 262 w 867"/>
                <a:gd name="T91" fmla="*/ 205 h 214"/>
                <a:gd name="T92" fmla="*/ 254 w 867"/>
                <a:gd name="T93" fmla="*/ 189 h 214"/>
                <a:gd name="T94" fmla="*/ 246 w 867"/>
                <a:gd name="T95" fmla="*/ 181 h 214"/>
                <a:gd name="T96" fmla="*/ 246 w 867"/>
                <a:gd name="T97" fmla="*/ 120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867" h="214">
                  <a:moveTo>
                    <a:pt x="0" y="0"/>
                  </a:moveTo>
                  <a:lnTo>
                    <a:pt x="111" y="0"/>
                  </a:lnTo>
                  <a:lnTo>
                    <a:pt x="207" y="0"/>
                  </a:lnTo>
                  <a:lnTo>
                    <a:pt x="294" y="0"/>
                  </a:lnTo>
                  <a:lnTo>
                    <a:pt x="381" y="0"/>
                  </a:lnTo>
                  <a:lnTo>
                    <a:pt x="461" y="0"/>
                  </a:lnTo>
                  <a:lnTo>
                    <a:pt x="532" y="0"/>
                  </a:lnTo>
                  <a:lnTo>
                    <a:pt x="596" y="0"/>
                  </a:lnTo>
                  <a:lnTo>
                    <a:pt x="651" y="0"/>
                  </a:lnTo>
                  <a:lnTo>
                    <a:pt x="707" y="0"/>
                  </a:lnTo>
                  <a:lnTo>
                    <a:pt x="747" y="0"/>
                  </a:lnTo>
                  <a:lnTo>
                    <a:pt x="787" y="0"/>
                  </a:lnTo>
                  <a:lnTo>
                    <a:pt x="818" y="0"/>
                  </a:lnTo>
                  <a:lnTo>
                    <a:pt x="842" y="0"/>
                  </a:lnTo>
                  <a:lnTo>
                    <a:pt x="858" y="0"/>
                  </a:lnTo>
                  <a:lnTo>
                    <a:pt x="866" y="0"/>
                  </a:lnTo>
                  <a:lnTo>
                    <a:pt x="866" y="8"/>
                  </a:lnTo>
                  <a:lnTo>
                    <a:pt x="866" y="16"/>
                  </a:lnTo>
                  <a:lnTo>
                    <a:pt x="866" y="24"/>
                  </a:lnTo>
                  <a:lnTo>
                    <a:pt x="866" y="32"/>
                  </a:lnTo>
                  <a:lnTo>
                    <a:pt x="866" y="39"/>
                  </a:lnTo>
                  <a:lnTo>
                    <a:pt x="866" y="47"/>
                  </a:lnTo>
                  <a:lnTo>
                    <a:pt x="858" y="47"/>
                  </a:lnTo>
                  <a:lnTo>
                    <a:pt x="850" y="47"/>
                  </a:lnTo>
                  <a:lnTo>
                    <a:pt x="842" y="47"/>
                  </a:lnTo>
                  <a:lnTo>
                    <a:pt x="834" y="47"/>
                  </a:lnTo>
                  <a:lnTo>
                    <a:pt x="826" y="47"/>
                  </a:lnTo>
                  <a:lnTo>
                    <a:pt x="818" y="47"/>
                  </a:lnTo>
                  <a:lnTo>
                    <a:pt x="818" y="55"/>
                  </a:lnTo>
                  <a:lnTo>
                    <a:pt x="810" y="55"/>
                  </a:lnTo>
                  <a:lnTo>
                    <a:pt x="802" y="63"/>
                  </a:lnTo>
                  <a:lnTo>
                    <a:pt x="794" y="63"/>
                  </a:lnTo>
                  <a:lnTo>
                    <a:pt x="787" y="71"/>
                  </a:lnTo>
                  <a:lnTo>
                    <a:pt x="779" y="79"/>
                  </a:lnTo>
                  <a:lnTo>
                    <a:pt x="771" y="79"/>
                  </a:lnTo>
                  <a:lnTo>
                    <a:pt x="763" y="87"/>
                  </a:lnTo>
                  <a:lnTo>
                    <a:pt x="755" y="87"/>
                  </a:lnTo>
                  <a:lnTo>
                    <a:pt x="755" y="95"/>
                  </a:lnTo>
                  <a:lnTo>
                    <a:pt x="747" y="95"/>
                  </a:lnTo>
                  <a:lnTo>
                    <a:pt x="739" y="95"/>
                  </a:lnTo>
                  <a:lnTo>
                    <a:pt x="731" y="95"/>
                  </a:lnTo>
                  <a:lnTo>
                    <a:pt x="723" y="95"/>
                  </a:lnTo>
                  <a:lnTo>
                    <a:pt x="715" y="95"/>
                  </a:lnTo>
                  <a:lnTo>
                    <a:pt x="707" y="95"/>
                  </a:lnTo>
                  <a:lnTo>
                    <a:pt x="699" y="95"/>
                  </a:lnTo>
                  <a:lnTo>
                    <a:pt x="691" y="95"/>
                  </a:lnTo>
                  <a:lnTo>
                    <a:pt x="683" y="95"/>
                  </a:lnTo>
                  <a:lnTo>
                    <a:pt x="667" y="95"/>
                  </a:lnTo>
                  <a:lnTo>
                    <a:pt x="659" y="95"/>
                  </a:lnTo>
                  <a:lnTo>
                    <a:pt x="644" y="95"/>
                  </a:lnTo>
                  <a:lnTo>
                    <a:pt x="636" y="95"/>
                  </a:lnTo>
                  <a:lnTo>
                    <a:pt x="628" y="95"/>
                  </a:lnTo>
                  <a:lnTo>
                    <a:pt x="620" y="95"/>
                  </a:lnTo>
                  <a:lnTo>
                    <a:pt x="508" y="142"/>
                  </a:lnTo>
                  <a:lnTo>
                    <a:pt x="501" y="142"/>
                  </a:lnTo>
                  <a:lnTo>
                    <a:pt x="493" y="142"/>
                  </a:lnTo>
                  <a:lnTo>
                    <a:pt x="485" y="142"/>
                  </a:lnTo>
                  <a:lnTo>
                    <a:pt x="477" y="142"/>
                  </a:lnTo>
                  <a:lnTo>
                    <a:pt x="469" y="142"/>
                  </a:lnTo>
                  <a:lnTo>
                    <a:pt x="461" y="142"/>
                  </a:lnTo>
                  <a:lnTo>
                    <a:pt x="453" y="142"/>
                  </a:lnTo>
                  <a:lnTo>
                    <a:pt x="445" y="142"/>
                  </a:lnTo>
                  <a:lnTo>
                    <a:pt x="437" y="142"/>
                  </a:lnTo>
                  <a:lnTo>
                    <a:pt x="421" y="142"/>
                  </a:lnTo>
                  <a:lnTo>
                    <a:pt x="413" y="142"/>
                  </a:lnTo>
                  <a:lnTo>
                    <a:pt x="405" y="142"/>
                  </a:lnTo>
                  <a:lnTo>
                    <a:pt x="397" y="142"/>
                  </a:lnTo>
                  <a:lnTo>
                    <a:pt x="389" y="142"/>
                  </a:lnTo>
                  <a:lnTo>
                    <a:pt x="381" y="142"/>
                  </a:lnTo>
                  <a:lnTo>
                    <a:pt x="373" y="142"/>
                  </a:lnTo>
                  <a:lnTo>
                    <a:pt x="365" y="142"/>
                  </a:lnTo>
                  <a:lnTo>
                    <a:pt x="358" y="142"/>
                  </a:lnTo>
                  <a:lnTo>
                    <a:pt x="350" y="142"/>
                  </a:lnTo>
                  <a:lnTo>
                    <a:pt x="342" y="142"/>
                  </a:lnTo>
                  <a:lnTo>
                    <a:pt x="342" y="150"/>
                  </a:lnTo>
                  <a:lnTo>
                    <a:pt x="342" y="158"/>
                  </a:lnTo>
                  <a:lnTo>
                    <a:pt x="342" y="166"/>
                  </a:lnTo>
                  <a:lnTo>
                    <a:pt x="342" y="174"/>
                  </a:lnTo>
                  <a:lnTo>
                    <a:pt x="342" y="181"/>
                  </a:lnTo>
                  <a:lnTo>
                    <a:pt x="342" y="189"/>
                  </a:lnTo>
                  <a:lnTo>
                    <a:pt x="342" y="197"/>
                  </a:lnTo>
                  <a:lnTo>
                    <a:pt x="334" y="205"/>
                  </a:lnTo>
                  <a:lnTo>
                    <a:pt x="326" y="205"/>
                  </a:lnTo>
                  <a:lnTo>
                    <a:pt x="326" y="213"/>
                  </a:lnTo>
                  <a:lnTo>
                    <a:pt x="318" y="213"/>
                  </a:lnTo>
                  <a:lnTo>
                    <a:pt x="310" y="213"/>
                  </a:lnTo>
                  <a:lnTo>
                    <a:pt x="302" y="213"/>
                  </a:lnTo>
                  <a:lnTo>
                    <a:pt x="294" y="213"/>
                  </a:lnTo>
                  <a:lnTo>
                    <a:pt x="286" y="213"/>
                  </a:lnTo>
                  <a:lnTo>
                    <a:pt x="278" y="213"/>
                  </a:lnTo>
                  <a:lnTo>
                    <a:pt x="270" y="213"/>
                  </a:lnTo>
                  <a:lnTo>
                    <a:pt x="262" y="205"/>
                  </a:lnTo>
                  <a:lnTo>
                    <a:pt x="254" y="197"/>
                  </a:lnTo>
                  <a:lnTo>
                    <a:pt x="254" y="189"/>
                  </a:lnTo>
                  <a:lnTo>
                    <a:pt x="246" y="189"/>
                  </a:lnTo>
                  <a:lnTo>
                    <a:pt x="246" y="181"/>
                  </a:lnTo>
                  <a:lnTo>
                    <a:pt x="246" y="174"/>
                  </a:lnTo>
                  <a:lnTo>
                    <a:pt x="246" y="120"/>
                  </a:lnTo>
                  <a:lnTo>
                    <a:pt x="0" y="0"/>
                  </a:lnTo>
                </a:path>
              </a:pathLst>
            </a:custGeom>
            <a:grpFill/>
            <a:ln w="9525" cap="rnd" cmpd="sng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1" name="Freeform 20"/>
            <p:cNvSpPr>
              <a:spLocks/>
            </p:cNvSpPr>
            <p:nvPr/>
          </p:nvSpPr>
          <p:spPr bwMode="auto">
            <a:xfrm>
              <a:off x="4614" y="2372"/>
              <a:ext cx="626" cy="221"/>
            </a:xfrm>
            <a:custGeom>
              <a:avLst/>
              <a:gdLst>
                <a:gd name="T0" fmla="*/ 625 w 626"/>
                <a:gd name="T1" fmla="*/ 0 h 221"/>
                <a:gd name="T2" fmla="*/ 625 w 626"/>
                <a:gd name="T3" fmla="*/ 49 h 221"/>
                <a:gd name="T4" fmla="*/ 585 w 626"/>
                <a:gd name="T5" fmla="*/ 49 h 221"/>
                <a:gd name="T6" fmla="*/ 513 w 626"/>
                <a:gd name="T7" fmla="*/ 98 h 221"/>
                <a:gd name="T8" fmla="*/ 377 w 626"/>
                <a:gd name="T9" fmla="*/ 98 h 221"/>
                <a:gd name="T10" fmla="*/ 264 w 626"/>
                <a:gd name="T11" fmla="*/ 147 h 221"/>
                <a:gd name="T12" fmla="*/ 96 w 626"/>
                <a:gd name="T13" fmla="*/ 147 h 221"/>
                <a:gd name="T14" fmla="*/ 96 w 626"/>
                <a:gd name="T15" fmla="*/ 204 h 221"/>
                <a:gd name="T16" fmla="*/ 70 w 626"/>
                <a:gd name="T17" fmla="*/ 220 h 221"/>
                <a:gd name="T18" fmla="*/ 26 w 626"/>
                <a:gd name="T19" fmla="*/ 220 h 221"/>
                <a:gd name="T20" fmla="*/ 0 w 626"/>
                <a:gd name="T21" fmla="*/ 199 h 221"/>
                <a:gd name="T22" fmla="*/ 0 w 626"/>
                <a:gd name="T23" fmla="*/ 147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26" h="221">
                  <a:moveTo>
                    <a:pt x="625" y="0"/>
                  </a:moveTo>
                  <a:lnTo>
                    <a:pt x="625" y="49"/>
                  </a:lnTo>
                  <a:lnTo>
                    <a:pt x="585" y="49"/>
                  </a:lnTo>
                  <a:lnTo>
                    <a:pt x="513" y="98"/>
                  </a:lnTo>
                  <a:lnTo>
                    <a:pt x="377" y="98"/>
                  </a:lnTo>
                  <a:lnTo>
                    <a:pt x="264" y="147"/>
                  </a:lnTo>
                  <a:lnTo>
                    <a:pt x="96" y="147"/>
                  </a:lnTo>
                  <a:lnTo>
                    <a:pt x="96" y="204"/>
                  </a:lnTo>
                  <a:lnTo>
                    <a:pt x="70" y="220"/>
                  </a:lnTo>
                  <a:lnTo>
                    <a:pt x="26" y="220"/>
                  </a:lnTo>
                  <a:lnTo>
                    <a:pt x="0" y="199"/>
                  </a:lnTo>
                  <a:lnTo>
                    <a:pt x="0" y="147"/>
                  </a:lnTo>
                </a:path>
              </a:pathLst>
            </a:custGeom>
            <a:grpFill/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34" name="TextBox 33"/>
          <p:cNvSpPr txBox="1"/>
          <p:nvPr/>
        </p:nvSpPr>
        <p:spPr>
          <a:xfrm>
            <a:off x="543847" y="5577096"/>
            <a:ext cx="137692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b="1" dirty="0" smtClean="0">
                <a:solidFill>
                  <a:schemeClr val="accent1">
                    <a:lumMod val="50000"/>
                  </a:schemeClr>
                </a:solidFill>
              </a:rPr>
              <a:t>REDUCESUPPLY</a:t>
            </a:r>
            <a:endParaRPr lang="en-GB" sz="24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6712787" y="1546831"/>
            <a:ext cx="955557" cy="576064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 smtClean="0"/>
              <a:t>Legal reform</a:t>
            </a:r>
            <a:endParaRPr lang="en-GB" sz="1400" dirty="0"/>
          </a:p>
        </p:txBody>
      </p:sp>
      <p:sp>
        <p:nvSpPr>
          <p:cNvPr id="37" name="Rectangle 36"/>
          <p:cNvSpPr/>
          <p:nvPr/>
        </p:nvSpPr>
        <p:spPr>
          <a:xfrm>
            <a:off x="1301407" y="4500255"/>
            <a:ext cx="1845176" cy="728945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fontAlgn="t"/>
            <a:r>
              <a:rPr lang="en-GB" sz="1400" dirty="0" smtClean="0"/>
              <a:t>Inter/intra </a:t>
            </a:r>
            <a:r>
              <a:rPr lang="en-GB" sz="1400" dirty="0"/>
              <a:t>agency </a:t>
            </a:r>
            <a:r>
              <a:rPr lang="en-GB" sz="1400" dirty="0" smtClean="0"/>
              <a:t>coordination and data coordination/ sharing </a:t>
            </a:r>
            <a:endParaRPr lang="en-GB" sz="1400" dirty="0"/>
          </a:p>
        </p:txBody>
      </p:sp>
      <p:sp>
        <p:nvSpPr>
          <p:cNvPr id="38" name="Rectangle 37"/>
          <p:cNvSpPr/>
          <p:nvPr/>
        </p:nvSpPr>
        <p:spPr>
          <a:xfrm>
            <a:off x="1292225" y="2708920"/>
            <a:ext cx="1854358" cy="889247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fontAlgn="t"/>
            <a:r>
              <a:rPr lang="en-GB" sz="1400" dirty="0" smtClean="0"/>
              <a:t>Accountability</a:t>
            </a:r>
            <a:r>
              <a:rPr lang="en-GB" sz="1400" dirty="0"/>
              <a:t>, efficiency and morale of enforcement agencies </a:t>
            </a:r>
          </a:p>
        </p:txBody>
      </p:sp>
      <p:sp>
        <p:nvSpPr>
          <p:cNvPr id="44" name="Rectangle 43"/>
          <p:cNvSpPr/>
          <p:nvPr/>
        </p:nvSpPr>
        <p:spPr>
          <a:xfrm>
            <a:off x="1292225" y="1834863"/>
            <a:ext cx="1257098" cy="804272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fontAlgn="t"/>
            <a:r>
              <a:rPr lang="en-GB" sz="1400" dirty="0" smtClean="0"/>
              <a:t>Regulate legal trade – quota monitoring</a:t>
            </a:r>
            <a:endParaRPr lang="en-GB" sz="1400" dirty="0"/>
          </a:p>
        </p:txBody>
      </p:sp>
      <p:sp>
        <p:nvSpPr>
          <p:cNvPr id="45" name="Rectangle 44"/>
          <p:cNvSpPr/>
          <p:nvPr/>
        </p:nvSpPr>
        <p:spPr>
          <a:xfrm>
            <a:off x="1301407" y="3679914"/>
            <a:ext cx="1845176" cy="757198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fontAlgn="t"/>
            <a:r>
              <a:rPr lang="en-GB" sz="1400" dirty="0" smtClean="0"/>
              <a:t>Reducing hunting and poaching – increase ground patrols</a:t>
            </a:r>
            <a:endParaRPr lang="en-GB" sz="1400" dirty="0"/>
          </a:p>
        </p:txBody>
      </p:sp>
      <p:sp>
        <p:nvSpPr>
          <p:cNvPr id="46" name="Rectangle 45"/>
          <p:cNvSpPr/>
          <p:nvPr/>
        </p:nvSpPr>
        <p:spPr>
          <a:xfrm>
            <a:off x="5680877" y="3872926"/>
            <a:ext cx="2005306" cy="708202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fontAlgn="t"/>
            <a:r>
              <a:rPr lang="en-GB" sz="1400" dirty="0" smtClean="0"/>
              <a:t>Focus on criminal kingpins and elite buyers – PPATK/KPK</a:t>
            </a:r>
            <a:endParaRPr lang="en-GB" sz="1400" dirty="0"/>
          </a:p>
        </p:txBody>
      </p:sp>
      <p:sp>
        <p:nvSpPr>
          <p:cNvPr id="47" name="Rectangle 46"/>
          <p:cNvSpPr/>
          <p:nvPr/>
        </p:nvSpPr>
        <p:spPr>
          <a:xfrm>
            <a:off x="1292225" y="1192997"/>
            <a:ext cx="744736" cy="576064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 smtClean="0"/>
              <a:t>Legal reform</a:t>
            </a:r>
            <a:endParaRPr lang="en-GB" sz="1400" dirty="0"/>
          </a:p>
        </p:txBody>
      </p:sp>
      <p:sp>
        <p:nvSpPr>
          <p:cNvPr id="48" name="Rectangle 47"/>
          <p:cNvSpPr/>
          <p:nvPr/>
        </p:nvSpPr>
        <p:spPr>
          <a:xfrm>
            <a:off x="5680877" y="3068960"/>
            <a:ext cx="2005306" cy="733401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fontAlgn="t"/>
            <a:r>
              <a:rPr lang="en-GB" sz="1400" dirty="0" smtClean="0"/>
              <a:t>Accountability</a:t>
            </a:r>
            <a:r>
              <a:rPr lang="en-GB" sz="1400" dirty="0"/>
              <a:t>, efficiency and morale of enforcement agencies 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6760118" y="5538488"/>
            <a:ext cx="146044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b="1" dirty="0" smtClean="0">
                <a:solidFill>
                  <a:schemeClr val="accent1">
                    <a:lumMod val="50000"/>
                  </a:schemeClr>
                </a:solidFill>
              </a:rPr>
              <a:t>REDUCE DEMAND</a:t>
            </a:r>
            <a:endParaRPr lang="en-GB" sz="24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50" name="Rectangle 49"/>
          <p:cNvSpPr/>
          <p:nvPr/>
        </p:nvSpPr>
        <p:spPr>
          <a:xfrm>
            <a:off x="6307140" y="2161463"/>
            <a:ext cx="1352824" cy="835489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fontAlgn="t"/>
            <a:r>
              <a:rPr lang="en-GB" sz="1400" dirty="0" smtClean="0"/>
              <a:t>Int’l engagement on wildlife crime</a:t>
            </a:r>
            <a:endParaRPr lang="en-GB" sz="1400" dirty="0"/>
          </a:p>
        </p:txBody>
      </p:sp>
    </p:spTree>
    <p:extLst>
      <p:ext uri="{BB962C8B-B14F-4D97-AF65-F5344CB8AC3E}">
        <p14:creationId xmlns:p14="http://schemas.microsoft.com/office/powerpoint/2010/main" val="1755198587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 animBg="1"/>
      <p:bldP spid="37" grpId="0" animBg="1"/>
      <p:bldP spid="38" grpId="0" animBg="1"/>
      <p:bldP spid="44" grpId="0" animBg="1"/>
      <p:bldP spid="45" grpId="0" animBg="1"/>
      <p:bldP spid="46" grpId="0" animBg="1"/>
      <p:bldP spid="47" grpId="0" animBg="1"/>
      <p:bldP spid="48" grpId="0" animBg="1"/>
      <p:bldP spid="50" grpId="0" animBg="1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UCCESSFUL APPROACHES</a:t>
            </a:r>
            <a:br>
              <a:rPr lang="en-GB" dirty="0" smtClean="0"/>
            </a:b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7031020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GLOBAL MOMENTUM</a:t>
            </a:r>
            <a:endParaRPr lang="en-GB" dirty="0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5616" y="2636912"/>
            <a:ext cx="2807518" cy="36361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3969" y="1022549"/>
            <a:ext cx="3802709" cy="2535139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83968" y="3724086"/>
            <a:ext cx="3802709" cy="2566763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683568" y="1022549"/>
            <a:ext cx="3672408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smtClean="0"/>
              <a:t>ASEAN Wildlife Enforcement Networ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smtClean="0"/>
              <a:t>Indonesia-US Action to </a:t>
            </a:r>
            <a:r>
              <a:rPr lang="en-GB" dirty="0"/>
              <a:t>Protect Wildlife and Combat Wildlife </a:t>
            </a:r>
            <a:r>
              <a:rPr lang="en-GB" dirty="0" smtClean="0"/>
              <a:t>Cri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 smtClean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9608496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Opportunities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6870700" y="6511925"/>
            <a:ext cx="1866900" cy="182563"/>
          </a:xfrm>
          <a:noFill/>
        </p:spPr>
        <p:txBody>
          <a:bodyPr/>
          <a:lstStyle>
            <a:lvl1pPr defTabSz="895350" eaLnBrk="0" hangingPunct="0">
              <a:defRPr sz="1600">
                <a:solidFill>
                  <a:schemeClr val="tx1"/>
                </a:solidFill>
                <a:latin typeface="Arial" charset="0"/>
                <a:ea typeface="-윤고딕130" pitchFamily="18" charset="-127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charset="0"/>
                <a:ea typeface="-윤고딕130" pitchFamily="18" charset="-127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charset="0"/>
                <a:ea typeface="-윤고딕130" pitchFamily="18" charset="-127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charset="0"/>
                <a:ea typeface="-윤고딕130" pitchFamily="18" charset="-127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charset="0"/>
                <a:ea typeface="-윤고딕130" pitchFamily="18" charset="-127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-윤고딕130" pitchFamily="18" charset="-127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-윤고딕130" pitchFamily="18" charset="-127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-윤고딕130" pitchFamily="18" charset="-127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-윤고딕130" pitchFamily="18" charset="-127"/>
              </a:defRPr>
            </a:lvl9pPr>
          </a:lstStyle>
          <a:p>
            <a:pPr eaLnBrk="1" hangingPunct="1"/>
            <a:fld id="{6EC93BC4-18E4-4211-861D-A6AE5394C096}" type="slidenum">
              <a:rPr lang="en-US" altLang="en-US" sz="1200">
                <a:solidFill>
                  <a:srgbClr val="000000"/>
                </a:solidFill>
              </a:rPr>
              <a:pPr eaLnBrk="1" hangingPunct="1"/>
              <a:t>43</a:t>
            </a:fld>
            <a:endParaRPr lang="en-US" altLang="en-US" sz="1200">
              <a:solidFill>
                <a:srgbClr val="000000"/>
              </a:solidFill>
            </a:endParaRPr>
          </a:p>
        </p:txBody>
      </p:sp>
      <p:pic>
        <p:nvPicPr>
          <p:cNvPr id="6" name="Picture 4" descr="Stretched-target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5425" y="1706563"/>
            <a:ext cx="3124200" cy="3692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Line 5"/>
          <p:cNvSpPr>
            <a:spLocks noChangeShapeType="1"/>
          </p:cNvSpPr>
          <p:nvPr/>
        </p:nvSpPr>
        <p:spPr bwMode="gray">
          <a:xfrm>
            <a:off x="449263" y="1641475"/>
            <a:ext cx="7961312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8" name="Line 6"/>
          <p:cNvSpPr>
            <a:spLocks noChangeShapeType="1"/>
          </p:cNvSpPr>
          <p:nvPr/>
        </p:nvSpPr>
        <p:spPr bwMode="gray">
          <a:xfrm>
            <a:off x="449263" y="5399088"/>
            <a:ext cx="7961312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9" name="TextBox 8"/>
          <p:cNvSpPr txBox="1"/>
          <p:nvPr/>
        </p:nvSpPr>
        <p:spPr>
          <a:xfrm>
            <a:off x="3491880" y="1706563"/>
            <a:ext cx="5328592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400" dirty="0"/>
              <a:t>Political – Indonesia </a:t>
            </a:r>
            <a:r>
              <a:rPr lang="en-GB" sz="2400" dirty="0" smtClean="0"/>
              <a:t>has an opportunity for regional leadership </a:t>
            </a:r>
            <a:endParaRPr lang="en-GB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400" dirty="0"/>
              <a:t>Much can happen without legal reform, and </a:t>
            </a:r>
            <a:r>
              <a:rPr lang="en-GB" sz="2400" dirty="0" smtClean="0"/>
              <a:t>rapidl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400" dirty="0" smtClean="0"/>
              <a:t>Regional relationships can be strengthened – investigations stop at border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400" dirty="0"/>
          </a:p>
          <a:p>
            <a:endParaRPr lang="en-GB" sz="2400" dirty="0"/>
          </a:p>
        </p:txBody>
      </p:sp>
    </p:spTree>
    <p:extLst>
      <p:ext uri="{BB962C8B-B14F-4D97-AF65-F5344CB8AC3E}">
        <p14:creationId xmlns:p14="http://schemas.microsoft.com/office/powerpoint/2010/main" val="28552518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 smtClean="0">
                <a:solidFill>
                  <a:schemeClr val="tx2"/>
                </a:solidFill>
              </a:rPr>
              <a:t>Solutions are possible: manta rays</a:t>
            </a:r>
            <a:endParaRPr lang="en-US" sz="2800" b="1" dirty="0">
              <a:solidFill>
                <a:schemeClr val="tx2"/>
              </a:solidFill>
            </a:endParaRPr>
          </a:p>
        </p:txBody>
      </p:sp>
      <p:cxnSp>
        <p:nvCxnSpPr>
          <p:cNvPr id="7" name="Straight Arrow Connector 6"/>
          <p:cNvCxnSpPr/>
          <p:nvPr/>
        </p:nvCxnSpPr>
        <p:spPr>
          <a:xfrm>
            <a:off x="873669" y="3284984"/>
            <a:ext cx="7258406" cy="0"/>
          </a:xfrm>
          <a:prstGeom prst="straightConnector1">
            <a:avLst/>
          </a:prstGeom>
          <a:ln w="76200" cmpd="sng">
            <a:solidFill>
              <a:srgbClr val="202020"/>
            </a:solidFill>
            <a:prstDash val="dash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539553" y="3404840"/>
            <a:ext cx="69127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tx1">
                    <a:lumMod val="50000"/>
                  </a:schemeClr>
                </a:solidFill>
              </a:rPr>
              <a:t>b</a:t>
            </a:r>
            <a:r>
              <a:rPr lang="en-US" b="1" dirty="0" smtClean="0">
                <a:solidFill>
                  <a:schemeClr val="tx1">
                    <a:lumMod val="50000"/>
                  </a:schemeClr>
                </a:solidFill>
              </a:rPr>
              <a:t>efore 2012</a:t>
            </a:r>
            <a:r>
              <a:rPr lang="en-US" b="1" dirty="0">
                <a:solidFill>
                  <a:schemeClr val="tx1">
                    <a:lumMod val="50000"/>
                  </a:schemeClr>
                </a:solidFill>
              </a:rPr>
              <a:t>	</a:t>
            </a:r>
            <a:r>
              <a:rPr lang="en-US" b="1" dirty="0" smtClean="0">
                <a:solidFill>
                  <a:schemeClr val="tx1">
                    <a:lumMod val="50000"/>
                  </a:schemeClr>
                </a:solidFill>
              </a:rPr>
              <a:t>	2012		2013	</a:t>
            </a:r>
            <a:endParaRPr lang="en-US" b="1" dirty="0">
              <a:solidFill>
                <a:schemeClr val="tx1">
                  <a:lumMod val="50000"/>
                </a:schemeClr>
              </a:solidFill>
            </a:endParaRPr>
          </a:p>
        </p:txBody>
      </p:sp>
      <p:cxnSp>
        <p:nvCxnSpPr>
          <p:cNvPr id="9" name="Straight Arrow Connector 8"/>
          <p:cNvCxnSpPr/>
          <p:nvPr/>
        </p:nvCxnSpPr>
        <p:spPr>
          <a:xfrm>
            <a:off x="1288435" y="2684756"/>
            <a:ext cx="0" cy="360036"/>
          </a:xfrm>
          <a:prstGeom prst="straightConnector1">
            <a:avLst/>
          </a:prstGeom>
          <a:ln>
            <a:solidFill>
              <a:srgbClr val="20202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251520" y="847392"/>
            <a:ext cx="2142958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u="sng" dirty="0" smtClean="0">
                <a:solidFill>
                  <a:srgbClr val="202020"/>
                </a:solidFill>
              </a:rPr>
              <a:t>Before 2012:</a:t>
            </a:r>
          </a:p>
          <a:p>
            <a:pPr algn="ctr"/>
            <a:r>
              <a:rPr lang="en-US" b="1" dirty="0" smtClean="0">
                <a:solidFill>
                  <a:srgbClr val="202020"/>
                </a:solidFill>
              </a:rPr>
              <a:t>Indonesia is the world’s largest shark fishery (&gt;120,000 tons/year)</a:t>
            </a:r>
            <a:endParaRPr lang="en-US" b="1" dirty="0">
              <a:solidFill>
                <a:srgbClr val="202020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716016" y="836712"/>
            <a:ext cx="2142958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u="sng" dirty="0" smtClean="0">
                <a:solidFill>
                  <a:srgbClr val="202020"/>
                </a:solidFill>
              </a:rPr>
              <a:t>March 2013:</a:t>
            </a:r>
          </a:p>
          <a:p>
            <a:pPr algn="ctr"/>
            <a:r>
              <a:rPr lang="en-US" b="1" dirty="0" smtClean="0">
                <a:solidFill>
                  <a:srgbClr val="202020"/>
                </a:solidFill>
              </a:rPr>
              <a:t>CITES lists Mantas and 5 shark species on Appendix II for the first time</a:t>
            </a:r>
            <a:endParaRPr lang="en-US" b="1" dirty="0">
              <a:solidFill>
                <a:srgbClr val="202020"/>
              </a:solidFill>
            </a:endParaRPr>
          </a:p>
        </p:txBody>
      </p:sp>
      <p:cxnSp>
        <p:nvCxnSpPr>
          <p:cNvPr id="16" name="Straight Arrow Connector 15"/>
          <p:cNvCxnSpPr/>
          <p:nvPr/>
        </p:nvCxnSpPr>
        <p:spPr>
          <a:xfrm flipV="1">
            <a:off x="7855565" y="3573024"/>
            <a:ext cx="0" cy="720072"/>
          </a:xfrm>
          <a:prstGeom prst="straightConnector1">
            <a:avLst/>
          </a:prstGeom>
          <a:ln>
            <a:solidFill>
              <a:srgbClr val="20202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>
          <a:xfrm>
            <a:off x="6516216" y="4255928"/>
            <a:ext cx="2376264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u="sng" dirty="0" smtClean="0">
                <a:solidFill>
                  <a:srgbClr val="202020"/>
                </a:solidFill>
              </a:rPr>
              <a:t>During 2013:</a:t>
            </a:r>
          </a:p>
          <a:p>
            <a:pPr algn="ctr"/>
            <a:r>
              <a:rPr lang="en-US" b="1" dirty="0" smtClean="0">
                <a:solidFill>
                  <a:srgbClr val="202020"/>
                </a:solidFill>
              </a:rPr>
              <a:t>Significant advocacy effort to lobby for manta protection in Indonesia (CI, </a:t>
            </a:r>
            <a:r>
              <a:rPr lang="en-US" b="1" dirty="0" err="1" smtClean="0">
                <a:solidFill>
                  <a:srgbClr val="202020"/>
                </a:solidFill>
              </a:rPr>
              <a:t>WildAid</a:t>
            </a:r>
            <a:r>
              <a:rPr lang="en-US" b="1" dirty="0" smtClean="0">
                <a:solidFill>
                  <a:srgbClr val="202020"/>
                </a:solidFill>
              </a:rPr>
              <a:t>, Shark Savers, WCS, WWF)</a:t>
            </a:r>
            <a:endParaRPr lang="en-US" b="1" dirty="0">
              <a:solidFill>
                <a:srgbClr val="202020"/>
              </a:solidFill>
            </a:endParaRPr>
          </a:p>
        </p:txBody>
      </p:sp>
      <p:cxnSp>
        <p:nvCxnSpPr>
          <p:cNvPr id="18" name="Straight Arrow Connector 17"/>
          <p:cNvCxnSpPr/>
          <p:nvPr/>
        </p:nvCxnSpPr>
        <p:spPr>
          <a:xfrm>
            <a:off x="5724128" y="2348880"/>
            <a:ext cx="0" cy="720072"/>
          </a:xfrm>
          <a:prstGeom prst="straightConnector1">
            <a:avLst/>
          </a:prstGeom>
          <a:ln>
            <a:solidFill>
              <a:srgbClr val="20202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2483769" y="836712"/>
            <a:ext cx="214295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u="sng" dirty="0" smtClean="0">
                <a:solidFill>
                  <a:srgbClr val="202020"/>
                </a:solidFill>
              </a:rPr>
              <a:t>During 2012:</a:t>
            </a:r>
          </a:p>
          <a:p>
            <a:pPr algn="ctr"/>
            <a:r>
              <a:rPr lang="en-US" b="1" dirty="0" smtClean="0">
                <a:solidFill>
                  <a:srgbClr val="202020"/>
                </a:solidFill>
              </a:rPr>
              <a:t>Estimated 1,320 manta rays killed in Indonesia</a:t>
            </a:r>
            <a:endParaRPr lang="en-US" b="1" dirty="0">
              <a:solidFill>
                <a:srgbClr val="202020"/>
              </a:solidFill>
            </a:endParaRPr>
          </a:p>
        </p:txBody>
      </p:sp>
      <p:pic>
        <p:nvPicPr>
          <p:cNvPr id="20" name="Picture 19" descr="manta ray butchered.jpg.jpe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394478" y="4005063"/>
            <a:ext cx="3816424" cy="2530921"/>
          </a:xfrm>
          <a:prstGeom prst="rect">
            <a:avLst/>
          </a:prstGeom>
        </p:spPr>
      </p:pic>
      <p:cxnSp>
        <p:nvCxnSpPr>
          <p:cNvPr id="21" name="Straight Arrow Connector 20"/>
          <p:cNvCxnSpPr/>
          <p:nvPr/>
        </p:nvCxnSpPr>
        <p:spPr>
          <a:xfrm>
            <a:off x="3563888" y="2348880"/>
            <a:ext cx="0" cy="720072"/>
          </a:xfrm>
          <a:prstGeom prst="straightConnector1">
            <a:avLst/>
          </a:prstGeom>
          <a:ln>
            <a:solidFill>
              <a:srgbClr val="20202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62890898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4" grpId="0"/>
      <p:bldP spid="17" grpId="0"/>
      <p:bldP spid="19" grpId="0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/>
          <p:cNvCxnSpPr/>
          <p:nvPr/>
        </p:nvCxnSpPr>
        <p:spPr>
          <a:xfrm>
            <a:off x="755576" y="3645024"/>
            <a:ext cx="7848872" cy="0"/>
          </a:xfrm>
          <a:prstGeom prst="straightConnector1">
            <a:avLst/>
          </a:prstGeom>
          <a:ln w="76200" cmpd="sng">
            <a:solidFill>
              <a:srgbClr val="202020"/>
            </a:solidFill>
            <a:prstDash val="dash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899592" y="3764880"/>
            <a:ext cx="7200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chemeClr val="tx1">
                    <a:lumMod val="50000"/>
                  </a:schemeClr>
                </a:solidFill>
              </a:rPr>
              <a:t>2014</a:t>
            </a:r>
            <a:r>
              <a:rPr lang="en-US" b="1" dirty="0">
                <a:solidFill>
                  <a:schemeClr val="tx1">
                    <a:lumMod val="50000"/>
                  </a:schemeClr>
                </a:solidFill>
              </a:rPr>
              <a:t>	</a:t>
            </a:r>
            <a:r>
              <a:rPr lang="en-US" b="1" dirty="0" smtClean="0">
                <a:solidFill>
                  <a:schemeClr val="tx1">
                    <a:lumMod val="50000"/>
                  </a:schemeClr>
                </a:solidFill>
              </a:rPr>
              <a:t>			2015			</a:t>
            </a:r>
            <a:endParaRPr lang="en-US" b="1" dirty="0">
              <a:solidFill>
                <a:schemeClr val="tx1">
                  <a:lumMod val="50000"/>
                </a:schemeClr>
              </a:solidFill>
            </a:endParaRPr>
          </a:p>
        </p:txBody>
      </p:sp>
      <p:cxnSp>
        <p:nvCxnSpPr>
          <p:cNvPr id="7" name="Straight Arrow Connector 6"/>
          <p:cNvCxnSpPr/>
          <p:nvPr/>
        </p:nvCxnSpPr>
        <p:spPr>
          <a:xfrm>
            <a:off x="1187624" y="2684760"/>
            <a:ext cx="0" cy="720072"/>
          </a:xfrm>
          <a:prstGeom prst="straightConnector1">
            <a:avLst/>
          </a:prstGeom>
          <a:ln>
            <a:solidFill>
              <a:srgbClr val="20202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107504" y="991408"/>
            <a:ext cx="223224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u="sng" dirty="0" smtClean="0">
                <a:solidFill>
                  <a:srgbClr val="202020"/>
                </a:solidFill>
              </a:rPr>
              <a:t>January 2014:</a:t>
            </a:r>
          </a:p>
          <a:p>
            <a:pPr algn="ctr"/>
            <a:r>
              <a:rPr lang="en-US" b="1" dirty="0">
                <a:solidFill>
                  <a:srgbClr val="202020"/>
                </a:solidFill>
              </a:rPr>
              <a:t>Indonesia declares mantas a protected specie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860032" y="980728"/>
            <a:ext cx="1872208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u="sng" dirty="0" smtClean="0">
                <a:solidFill>
                  <a:srgbClr val="202020"/>
                </a:solidFill>
              </a:rPr>
              <a:t>27 January 2015:</a:t>
            </a:r>
          </a:p>
          <a:p>
            <a:pPr algn="ctr"/>
            <a:r>
              <a:rPr lang="en-US" b="1" dirty="0" smtClean="0">
                <a:solidFill>
                  <a:srgbClr val="202020"/>
                </a:solidFill>
              </a:rPr>
              <a:t>First manta trader jailed for 16 months and fined $5,000</a:t>
            </a:r>
            <a:endParaRPr lang="en-US" b="1" dirty="0">
              <a:solidFill>
                <a:srgbClr val="202020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6804248" y="980728"/>
            <a:ext cx="2195736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u="sng" dirty="0">
                <a:solidFill>
                  <a:srgbClr val="202020"/>
                </a:solidFill>
              </a:rPr>
              <a:t>April 2015:</a:t>
            </a:r>
            <a:endParaRPr lang="en-US" b="1" dirty="0">
              <a:solidFill>
                <a:srgbClr val="202020"/>
              </a:solidFill>
            </a:endParaRPr>
          </a:p>
          <a:p>
            <a:pPr algn="ctr"/>
            <a:r>
              <a:rPr lang="en-US" b="1" dirty="0">
                <a:solidFill>
                  <a:srgbClr val="202020"/>
                </a:solidFill>
              </a:rPr>
              <a:t>8 </a:t>
            </a:r>
            <a:r>
              <a:rPr lang="en-US" b="1" dirty="0" smtClean="0">
                <a:solidFill>
                  <a:srgbClr val="202020"/>
                </a:solidFill>
              </a:rPr>
              <a:t>arrests, all facilitated by WCS-WCU; </a:t>
            </a:r>
            <a:r>
              <a:rPr lang="en-US" b="1" dirty="0">
                <a:solidFill>
                  <a:srgbClr val="202020"/>
                </a:solidFill>
              </a:rPr>
              <a:t>6 prosecutions finished; sentences up to 1.5 </a:t>
            </a:r>
            <a:r>
              <a:rPr lang="en-US" b="1" dirty="0" smtClean="0">
                <a:solidFill>
                  <a:srgbClr val="202020"/>
                </a:solidFill>
              </a:rPr>
              <a:t>years</a:t>
            </a:r>
            <a:endParaRPr lang="en-US" b="1" dirty="0">
              <a:solidFill>
                <a:srgbClr val="202020"/>
              </a:solidFill>
            </a:endParaRPr>
          </a:p>
        </p:txBody>
      </p:sp>
      <p:cxnSp>
        <p:nvCxnSpPr>
          <p:cNvPr id="13" name="Straight Arrow Connector 12"/>
          <p:cNvCxnSpPr/>
          <p:nvPr/>
        </p:nvCxnSpPr>
        <p:spPr>
          <a:xfrm>
            <a:off x="5724128" y="2708920"/>
            <a:ext cx="0" cy="720072"/>
          </a:xfrm>
          <a:prstGeom prst="straightConnector1">
            <a:avLst/>
          </a:prstGeom>
          <a:ln>
            <a:solidFill>
              <a:srgbClr val="20202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>
            <a:off x="2339752" y="980728"/>
            <a:ext cx="2232248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u="sng" dirty="0">
                <a:solidFill>
                  <a:srgbClr val="202020"/>
                </a:solidFill>
              </a:rPr>
              <a:t>22 August 2014:</a:t>
            </a:r>
          </a:p>
          <a:p>
            <a:pPr algn="ctr"/>
            <a:r>
              <a:rPr lang="en-US" b="1" dirty="0">
                <a:solidFill>
                  <a:srgbClr val="202020"/>
                </a:solidFill>
              </a:rPr>
              <a:t>First ever arrest of a manta ray trader, by MMAF, facilitated by WCS-WCU.</a:t>
            </a:r>
          </a:p>
        </p:txBody>
      </p:sp>
      <p:cxnSp>
        <p:nvCxnSpPr>
          <p:cNvPr id="18" name="Straight Arrow Connector 17"/>
          <p:cNvCxnSpPr/>
          <p:nvPr/>
        </p:nvCxnSpPr>
        <p:spPr>
          <a:xfrm>
            <a:off x="3419872" y="2708920"/>
            <a:ext cx="0" cy="720072"/>
          </a:xfrm>
          <a:prstGeom prst="straightConnector1">
            <a:avLst/>
          </a:prstGeom>
          <a:ln>
            <a:solidFill>
              <a:srgbClr val="20202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7884368" y="2996952"/>
            <a:ext cx="0" cy="432040"/>
          </a:xfrm>
          <a:prstGeom prst="straightConnector1">
            <a:avLst/>
          </a:prstGeom>
          <a:ln>
            <a:solidFill>
              <a:srgbClr val="20202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6354198" y="4725144"/>
            <a:ext cx="2538282" cy="923330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solidFill>
              <a:schemeClr val="accent3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GB" b="1" dirty="0" smtClean="0">
                <a:solidFill>
                  <a:schemeClr val="bg1"/>
                </a:solidFill>
              </a:rPr>
              <a:t>Main manta ray traders no longer selling manta products</a:t>
            </a:r>
            <a:endParaRPr lang="en-GB" b="1" dirty="0">
              <a:solidFill>
                <a:schemeClr val="bg1"/>
              </a:solidFill>
            </a:endParaRPr>
          </a:p>
        </p:txBody>
      </p:sp>
      <p:cxnSp>
        <p:nvCxnSpPr>
          <p:cNvPr id="25" name="Straight Arrow Connector 24"/>
          <p:cNvCxnSpPr/>
          <p:nvPr/>
        </p:nvCxnSpPr>
        <p:spPr>
          <a:xfrm flipV="1">
            <a:off x="8316416" y="4081260"/>
            <a:ext cx="0" cy="571876"/>
          </a:xfrm>
          <a:prstGeom prst="straightConnector1">
            <a:avLst/>
          </a:prstGeom>
          <a:ln>
            <a:solidFill>
              <a:srgbClr val="20202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8" name="Picture 2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68932" y="4367198"/>
            <a:ext cx="4927390" cy="2016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6191752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0" grpId="0"/>
      <p:bldP spid="12" grpId="0"/>
      <p:bldP spid="14" grpId="0"/>
      <p:bldP spid="24" grpId="0" animBg="1"/>
    </p:bld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79512" y="850776"/>
            <a:ext cx="3742182" cy="5026496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7944" y="1442357"/>
            <a:ext cx="4922369" cy="4146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883832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Thank you</a:t>
            </a:r>
            <a:endParaRPr lang="en-GB" dirty="0"/>
          </a:p>
        </p:txBody>
      </p:sp>
      <p:pic>
        <p:nvPicPr>
          <p:cNvPr id="4" name="Picture 2" descr="D:\DATA\Logo\logo wcs all\WCS-LOGO TRANSPARENT.gif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2320" y="4977680"/>
            <a:ext cx="1619672" cy="161967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" name="TextBox 2"/>
          <p:cNvSpPr txBox="1"/>
          <p:nvPr/>
        </p:nvSpPr>
        <p:spPr>
          <a:xfrm>
            <a:off x="2339752" y="5445224"/>
            <a:ext cx="432048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b="1" dirty="0" smtClean="0"/>
              <a:t>Matt Leggett</a:t>
            </a:r>
          </a:p>
          <a:p>
            <a:pPr algn="ctr"/>
            <a:r>
              <a:rPr lang="en-GB" sz="2000" b="1" dirty="0" smtClean="0"/>
              <a:t>mleggett@wcs.org</a:t>
            </a:r>
            <a:endParaRPr lang="en-GB" sz="2000" b="1" dirty="0"/>
          </a:p>
        </p:txBody>
      </p:sp>
    </p:spTree>
    <p:extLst>
      <p:ext uri="{BB962C8B-B14F-4D97-AF65-F5344CB8AC3E}">
        <p14:creationId xmlns:p14="http://schemas.microsoft.com/office/powerpoint/2010/main" val="190083919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60" y="908720"/>
            <a:ext cx="7704856" cy="55289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6902636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THE RHINO PARADOX</a:t>
            </a:r>
            <a:endParaRPr lang="en-GB" dirty="0"/>
          </a:p>
        </p:txBody>
      </p:sp>
      <p:grpSp>
        <p:nvGrpSpPr>
          <p:cNvPr id="8" name="Group 7"/>
          <p:cNvGrpSpPr/>
          <p:nvPr/>
        </p:nvGrpSpPr>
        <p:grpSpPr>
          <a:xfrm>
            <a:off x="395536" y="548680"/>
            <a:ext cx="7632848" cy="5832648"/>
            <a:chOff x="251520" y="476672"/>
            <a:chExt cx="7632848" cy="5832648"/>
          </a:xfrm>
        </p:grpSpPr>
        <p:pic>
          <p:nvPicPr>
            <p:cNvPr id="6" name="Picture 5" descr="2012_08_15_4759.jpg"/>
            <p:cNvPicPr>
              <a:picLocks noChangeAspect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827584" y="764704"/>
              <a:ext cx="7056784" cy="5292588"/>
            </a:xfrm>
            <a:prstGeom prst="rect">
              <a:avLst/>
            </a:prstGeom>
          </p:spPr>
        </p:pic>
        <p:graphicFrame>
          <p:nvGraphicFramePr>
            <p:cNvPr id="7" name="Chart 6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1358040035"/>
                </p:ext>
              </p:extLst>
            </p:nvPr>
          </p:nvGraphicFramePr>
          <p:xfrm>
            <a:off x="251520" y="476672"/>
            <a:ext cx="7575648" cy="583264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222178300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REGIONAL TREND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2332681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Market values ($)</a:t>
            </a:r>
            <a:endParaRPr lang="en-GB" dirty="0"/>
          </a:p>
        </p:txBody>
      </p:sp>
      <p:sp>
        <p:nvSpPr>
          <p:cNvPr id="5" name="AutoShape 14"/>
          <p:cNvSpPr>
            <a:spLocks noChangeArrowheads="1"/>
          </p:cNvSpPr>
          <p:nvPr/>
        </p:nvSpPr>
        <p:spPr bwMode="auto">
          <a:xfrm>
            <a:off x="6516688" y="6092825"/>
            <a:ext cx="2376487" cy="576263"/>
          </a:xfrm>
          <a:prstGeom prst="wedgeRectCallout">
            <a:avLst>
              <a:gd name="adj1" fmla="val -117000"/>
              <a:gd name="adj2" fmla="val -6956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9pPr>
          </a:lstStyle>
          <a:p>
            <a:pPr algn="ctr" eaLnBrk="1" hangingPunct="1"/>
            <a:r>
              <a:rPr lang="en-GB" altLang="en-US" sz="1600" b="1">
                <a:solidFill>
                  <a:srgbClr val="FF0000"/>
                </a:solidFill>
                <a:latin typeface="+mj-lt"/>
              </a:rPr>
              <a:t>Beef</a:t>
            </a:r>
          </a:p>
          <a:p>
            <a:pPr algn="ctr" eaLnBrk="1" hangingPunct="1"/>
            <a:r>
              <a:rPr lang="en-GB" altLang="en-US" sz="1600">
                <a:latin typeface="+mj-lt"/>
              </a:rPr>
              <a:t>$0.75 - $1</a:t>
            </a:r>
          </a:p>
        </p:txBody>
      </p:sp>
      <p:sp>
        <p:nvSpPr>
          <p:cNvPr id="6" name="AutoShape 16"/>
          <p:cNvSpPr>
            <a:spLocks noChangeArrowheads="1"/>
          </p:cNvSpPr>
          <p:nvPr/>
        </p:nvSpPr>
        <p:spPr bwMode="auto">
          <a:xfrm>
            <a:off x="6588125" y="989013"/>
            <a:ext cx="2376488" cy="611187"/>
          </a:xfrm>
          <a:prstGeom prst="wedgeRectCallout">
            <a:avLst>
              <a:gd name="adj1" fmla="val -113630"/>
              <a:gd name="adj2" fmla="val -12273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9pPr>
          </a:lstStyle>
          <a:p>
            <a:pPr algn="ctr" eaLnBrk="1" hangingPunct="1"/>
            <a:r>
              <a:rPr lang="en-GB" altLang="en-US" sz="1600" b="1">
                <a:solidFill>
                  <a:srgbClr val="FF0000"/>
                </a:solidFill>
                <a:latin typeface="+mj-lt"/>
              </a:rPr>
              <a:t>Gold</a:t>
            </a:r>
          </a:p>
          <a:p>
            <a:pPr algn="ctr" eaLnBrk="1" hangingPunct="1"/>
            <a:r>
              <a:rPr lang="en-GB" altLang="en-US" sz="1600">
                <a:latin typeface="+mj-lt"/>
              </a:rPr>
              <a:t>$4800</a:t>
            </a:r>
          </a:p>
        </p:txBody>
      </p:sp>
      <p:sp>
        <p:nvSpPr>
          <p:cNvPr id="7" name="AutoShape 17"/>
          <p:cNvSpPr>
            <a:spLocks noChangeArrowheads="1"/>
          </p:cNvSpPr>
          <p:nvPr/>
        </p:nvSpPr>
        <p:spPr bwMode="auto">
          <a:xfrm>
            <a:off x="6588125" y="1844675"/>
            <a:ext cx="2376488" cy="576263"/>
          </a:xfrm>
          <a:prstGeom prst="wedgeRectCallout">
            <a:avLst>
              <a:gd name="adj1" fmla="val -114491"/>
              <a:gd name="adj2" fmla="val -113704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9pPr>
          </a:lstStyle>
          <a:p>
            <a:pPr algn="ctr" eaLnBrk="1" hangingPunct="1"/>
            <a:r>
              <a:rPr lang="en-GB" altLang="en-US" sz="1600" b="1">
                <a:solidFill>
                  <a:srgbClr val="FF0000"/>
                </a:solidFill>
                <a:latin typeface="+mj-lt"/>
              </a:rPr>
              <a:t>Heroin</a:t>
            </a:r>
          </a:p>
          <a:p>
            <a:pPr algn="ctr" eaLnBrk="1" hangingPunct="1"/>
            <a:r>
              <a:rPr lang="en-GB" altLang="en-US" sz="1600">
                <a:latin typeface="+mj-lt"/>
              </a:rPr>
              <a:t>$1500-2000</a:t>
            </a:r>
          </a:p>
        </p:txBody>
      </p:sp>
      <p:sp>
        <p:nvSpPr>
          <p:cNvPr id="8" name="AutoShape 19"/>
          <p:cNvSpPr>
            <a:spLocks noChangeArrowheads="1"/>
          </p:cNvSpPr>
          <p:nvPr/>
        </p:nvSpPr>
        <p:spPr bwMode="auto">
          <a:xfrm>
            <a:off x="6545263" y="3848100"/>
            <a:ext cx="2376487" cy="647700"/>
          </a:xfrm>
          <a:prstGeom prst="wedgeRectCallout">
            <a:avLst>
              <a:gd name="adj1" fmla="val -117537"/>
              <a:gd name="adj2" fmla="val -11028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9pPr>
          </a:lstStyle>
          <a:p>
            <a:pPr algn="ctr" eaLnBrk="1" hangingPunct="1"/>
            <a:r>
              <a:rPr lang="en-GB" altLang="en-US" sz="1600" b="1">
                <a:solidFill>
                  <a:srgbClr val="FF0000"/>
                </a:solidFill>
                <a:latin typeface="+mj-lt"/>
              </a:rPr>
              <a:t>Amphetamine</a:t>
            </a:r>
          </a:p>
          <a:p>
            <a:pPr algn="ctr" eaLnBrk="1" hangingPunct="1"/>
            <a:r>
              <a:rPr lang="en-GB" altLang="en-US" sz="1600">
                <a:latin typeface="+mj-lt"/>
              </a:rPr>
              <a:t>$100</a:t>
            </a:r>
          </a:p>
        </p:txBody>
      </p:sp>
      <p:sp>
        <p:nvSpPr>
          <p:cNvPr id="9" name="AutoShape 20"/>
          <p:cNvSpPr>
            <a:spLocks noChangeArrowheads="1"/>
          </p:cNvSpPr>
          <p:nvPr/>
        </p:nvSpPr>
        <p:spPr bwMode="auto">
          <a:xfrm>
            <a:off x="6529388" y="4533900"/>
            <a:ext cx="2376487" cy="647700"/>
          </a:xfrm>
          <a:prstGeom prst="wedgeRectCallout">
            <a:avLst>
              <a:gd name="adj1" fmla="val -118870"/>
              <a:gd name="adj2" fmla="val -13727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9pPr>
          </a:lstStyle>
          <a:p>
            <a:pPr algn="ctr" eaLnBrk="1" hangingPunct="1"/>
            <a:r>
              <a:rPr lang="en-GB" altLang="en-US" sz="1600" b="1">
                <a:solidFill>
                  <a:srgbClr val="FF0000"/>
                </a:solidFill>
                <a:latin typeface="+mj-lt"/>
              </a:rPr>
              <a:t>Opium</a:t>
            </a:r>
          </a:p>
          <a:p>
            <a:pPr algn="ctr" eaLnBrk="1" hangingPunct="1"/>
            <a:r>
              <a:rPr lang="en-GB" altLang="en-US" sz="1600">
                <a:latin typeface="+mj-lt"/>
              </a:rPr>
              <a:t>$50</a:t>
            </a:r>
          </a:p>
        </p:txBody>
      </p:sp>
      <p:sp>
        <p:nvSpPr>
          <p:cNvPr id="10" name="AutoShape 25"/>
          <p:cNvSpPr>
            <a:spLocks noChangeArrowheads="1"/>
          </p:cNvSpPr>
          <p:nvPr/>
        </p:nvSpPr>
        <p:spPr bwMode="auto">
          <a:xfrm>
            <a:off x="395288" y="1831975"/>
            <a:ext cx="2376487" cy="576263"/>
          </a:xfrm>
          <a:prstGeom prst="wedgeRectCallout">
            <a:avLst>
              <a:gd name="adj1" fmla="val 94824"/>
              <a:gd name="adj2" fmla="val 21903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9pPr>
          </a:lstStyle>
          <a:p>
            <a:pPr algn="ctr" eaLnBrk="1" hangingPunct="1"/>
            <a:r>
              <a:rPr lang="en-GB" altLang="en-US" sz="1600" b="1">
                <a:solidFill>
                  <a:srgbClr val="FF0000"/>
                </a:solidFill>
                <a:latin typeface="+mj-lt"/>
              </a:rPr>
              <a:t>Tiger bone balm</a:t>
            </a:r>
          </a:p>
          <a:p>
            <a:pPr algn="ctr" eaLnBrk="1" hangingPunct="1"/>
            <a:r>
              <a:rPr lang="en-GB" altLang="en-US" sz="1600">
                <a:latin typeface="+mj-lt"/>
              </a:rPr>
              <a:t>$850</a:t>
            </a:r>
          </a:p>
        </p:txBody>
      </p:sp>
      <p:sp>
        <p:nvSpPr>
          <p:cNvPr id="11" name="AutoShape 26"/>
          <p:cNvSpPr>
            <a:spLocks noChangeArrowheads="1"/>
          </p:cNvSpPr>
          <p:nvPr/>
        </p:nvSpPr>
        <p:spPr bwMode="auto">
          <a:xfrm>
            <a:off x="395288" y="908050"/>
            <a:ext cx="2347912" cy="768350"/>
          </a:xfrm>
          <a:prstGeom prst="wedgeRectCallout">
            <a:avLst>
              <a:gd name="adj1" fmla="val 99032"/>
              <a:gd name="adj2" fmla="val -3650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9pPr>
          </a:lstStyle>
          <a:p>
            <a:pPr algn="ctr" eaLnBrk="1" hangingPunct="1"/>
            <a:r>
              <a:rPr lang="en-GB" altLang="en-US" sz="1600" b="1" dirty="0">
                <a:solidFill>
                  <a:srgbClr val="FF0000"/>
                </a:solidFill>
                <a:latin typeface="+mj-lt"/>
              </a:rPr>
              <a:t>Rhino horn</a:t>
            </a:r>
          </a:p>
          <a:p>
            <a:pPr algn="ctr" eaLnBrk="1" hangingPunct="1"/>
            <a:r>
              <a:rPr lang="en-GB" altLang="en-US" sz="1600" dirty="0">
                <a:latin typeface="+mj-lt"/>
              </a:rPr>
              <a:t>$2000-$6000</a:t>
            </a:r>
          </a:p>
        </p:txBody>
      </p:sp>
      <p:sp>
        <p:nvSpPr>
          <p:cNvPr id="12" name="AutoShape 27"/>
          <p:cNvSpPr>
            <a:spLocks noChangeArrowheads="1"/>
          </p:cNvSpPr>
          <p:nvPr/>
        </p:nvSpPr>
        <p:spPr bwMode="auto">
          <a:xfrm>
            <a:off x="381000" y="3352800"/>
            <a:ext cx="2376488" cy="576263"/>
          </a:xfrm>
          <a:prstGeom prst="wedgeRectCallout">
            <a:avLst>
              <a:gd name="adj1" fmla="val 101384"/>
              <a:gd name="adj2" fmla="val -88741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9pPr>
          </a:lstStyle>
          <a:p>
            <a:pPr algn="ctr" eaLnBrk="1" hangingPunct="1"/>
            <a:r>
              <a:rPr lang="en-GB" altLang="en-US" sz="1600" b="1">
                <a:solidFill>
                  <a:srgbClr val="FF0000"/>
                </a:solidFill>
                <a:latin typeface="+mj-lt"/>
              </a:rPr>
              <a:t>Golden Turtle</a:t>
            </a:r>
          </a:p>
          <a:p>
            <a:pPr algn="ctr" eaLnBrk="1" hangingPunct="1"/>
            <a:r>
              <a:rPr lang="en-GB" altLang="en-US" sz="1600">
                <a:latin typeface="+mj-lt"/>
              </a:rPr>
              <a:t>$300-$500</a:t>
            </a:r>
          </a:p>
        </p:txBody>
      </p:sp>
      <p:sp>
        <p:nvSpPr>
          <p:cNvPr id="13" name="AutoShape 28"/>
          <p:cNvSpPr>
            <a:spLocks noChangeArrowheads="1"/>
          </p:cNvSpPr>
          <p:nvPr/>
        </p:nvSpPr>
        <p:spPr bwMode="auto">
          <a:xfrm>
            <a:off x="381000" y="4800600"/>
            <a:ext cx="2376488" cy="576263"/>
          </a:xfrm>
          <a:prstGeom prst="wedgeRectCallout">
            <a:avLst>
              <a:gd name="adj1" fmla="val 95255"/>
              <a:gd name="adj2" fmla="val -279519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9pPr>
          </a:lstStyle>
          <a:p>
            <a:pPr algn="ctr" eaLnBrk="1" hangingPunct="1"/>
            <a:r>
              <a:rPr lang="en-GB" altLang="en-US" sz="1600" b="1">
                <a:solidFill>
                  <a:srgbClr val="FF0000"/>
                </a:solidFill>
                <a:latin typeface="+mj-lt"/>
              </a:rPr>
              <a:t>Pangolin scales</a:t>
            </a:r>
          </a:p>
          <a:p>
            <a:pPr algn="ctr" eaLnBrk="1" hangingPunct="1"/>
            <a:r>
              <a:rPr lang="en-GB" altLang="en-US" sz="1600">
                <a:latin typeface="+mj-lt"/>
              </a:rPr>
              <a:t>$200-400</a:t>
            </a:r>
          </a:p>
        </p:txBody>
      </p:sp>
      <p:sp>
        <p:nvSpPr>
          <p:cNvPr id="14" name="Text Box 30"/>
          <p:cNvSpPr txBox="1">
            <a:spLocks noChangeArrowheads="1"/>
          </p:cNvSpPr>
          <p:nvPr/>
        </p:nvSpPr>
        <p:spPr bwMode="auto">
          <a:xfrm>
            <a:off x="3454400" y="6237312"/>
            <a:ext cx="18796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en-GB" altLang="en-US" sz="1800" b="1" dirty="0">
                <a:latin typeface="+mj-lt"/>
              </a:rPr>
              <a:t>Per 100g</a:t>
            </a:r>
          </a:p>
        </p:txBody>
      </p:sp>
      <p:sp>
        <p:nvSpPr>
          <p:cNvPr id="15" name="AutoShape 27"/>
          <p:cNvSpPr>
            <a:spLocks noChangeArrowheads="1"/>
          </p:cNvSpPr>
          <p:nvPr/>
        </p:nvSpPr>
        <p:spPr bwMode="auto">
          <a:xfrm>
            <a:off x="381000" y="2514600"/>
            <a:ext cx="2376488" cy="576263"/>
          </a:xfrm>
          <a:prstGeom prst="wedgeRectCallout">
            <a:avLst>
              <a:gd name="adj1" fmla="val 100815"/>
              <a:gd name="adj2" fmla="val -18407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Impact" pitchFamily="-112" charset="0"/>
                <a:ea typeface="ＭＳ Ｐゴシック" pitchFamily="-112" charset="-128"/>
              </a:defRPr>
            </a:lvl9pPr>
          </a:lstStyle>
          <a:p>
            <a:pPr algn="ctr" eaLnBrk="1" hangingPunct="1"/>
            <a:r>
              <a:rPr lang="en-GB" altLang="en-US" sz="1600" b="1">
                <a:solidFill>
                  <a:srgbClr val="FF0000"/>
                </a:solidFill>
                <a:latin typeface="+mj-lt"/>
              </a:rPr>
              <a:t>Elephant ivory</a:t>
            </a:r>
          </a:p>
          <a:p>
            <a:pPr algn="ctr" eaLnBrk="1" hangingPunct="1"/>
            <a:r>
              <a:rPr lang="en-GB" altLang="en-US" sz="1600">
                <a:latin typeface="+mj-lt"/>
              </a:rPr>
              <a:t>$50-$700</a:t>
            </a:r>
          </a:p>
        </p:txBody>
      </p:sp>
      <p:cxnSp>
        <p:nvCxnSpPr>
          <p:cNvPr id="17" name="Straight Arrow Connector 16"/>
          <p:cNvCxnSpPr>
            <a:stCxn id="14" idx="0"/>
          </p:cNvCxnSpPr>
          <p:nvPr/>
        </p:nvCxnSpPr>
        <p:spPr>
          <a:xfrm flipV="1">
            <a:off x="4394200" y="885502"/>
            <a:ext cx="0" cy="5351810"/>
          </a:xfrm>
          <a:prstGeom prst="straightConnector1">
            <a:avLst/>
          </a:prstGeom>
          <a:ln w="50800">
            <a:solidFill>
              <a:schemeClr val="tx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77780100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/>
      <p:bldP spid="15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Grp="1" noChangeAspect="1" noChangeArrowheads="1"/>
          </p:cNvPicPr>
          <p:nvPr>
            <p:ph idx="1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430"/>
          <a:stretch/>
        </p:blipFill>
        <p:spPr bwMode="auto">
          <a:xfrm>
            <a:off x="2156992" y="2492896"/>
            <a:ext cx="4469976" cy="28017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1331640" y="1124744"/>
            <a:ext cx="612068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3200" b="1" dirty="0" smtClean="0"/>
              <a:t>WILDLIFE CRIME AND TRADE IS ONLY AN ASIAN PROBLEM….</a:t>
            </a:r>
            <a:endParaRPr lang="en-GB" sz="3200" b="1" dirty="0"/>
          </a:p>
        </p:txBody>
      </p:sp>
    </p:spTree>
    <p:extLst>
      <p:ext uri="{BB962C8B-B14F-4D97-AF65-F5344CB8AC3E}">
        <p14:creationId xmlns:p14="http://schemas.microsoft.com/office/powerpoint/2010/main" val="1976092941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9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10" dur="500"/>
                                        <p:tgtEl>
                                          <p:spTgt spid="409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USA and Europe are critical MARKETS</a:t>
            </a:r>
            <a:endParaRPr lang="en-GB" dirty="0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1587" y="1834852"/>
            <a:ext cx="7588250" cy="4762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/>
          <p:cNvSpPr/>
          <p:nvPr/>
        </p:nvSpPr>
        <p:spPr>
          <a:xfrm>
            <a:off x="323527" y="910461"/>
            <a:ext cx="8056309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dirty="0" smtClean="0"/>
              <a:t>New </a:t>
            </a:r>
            <a:r>
              <a:rPr lang="en-GB" sz="2000" dirty="0"/>
              <a:t>York, $2m of ivory seized in 2012. </a:t>
            </a:r>
            <a:endParaRPr lang="en-GB" sz="20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dirty="0" smtClean="0"/>
              <a:t>JFK </a:t>
            </a:r>
            <a:r>
              <a:rPr lang="en-GB" sz="2000" dirty="0"/>
              <a:t>airport </a:t>
            </a:r>
            <a:r>
              <a:rPr lang="en-GB" sz="2000" dirty="0" smtClean="0"/>
              <a:t>– 1.4 billion tons of freight…</a:t>
            </a:r>
            <a:endParaRPr lang="en-GB" sz="2000" dirty="0"/>
          </a:p>
        </p:txBody>
      </p:sp>
      <p:sp>
        <p:nvSpPr>
          <p:cNvPr id="6" name="TextBox 5"/>
          <p:cNvSpPr txBox="1"/>
          <p:nvPr/>
        </p:nvSpPr>
        <p:spPr>
          <a:xfrm>
            <a:off x="4716016" y="1196752"/>
            <a:ext cx="468052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dirty="0"/>
              <a:t>b</a:t>
            </a:r>
            <a:r>
              <a:rPr lang="en-GB" sz="2000" dirty="0" smtClean="0"/>
              <a:t>ut only 6 </a:t>
            </a:r>
            <a:r>
              <a:rPr lang="en-GB" sz="2000" dirty="0"/>
              <a:t>inspectors and 4 police agents</a:t>
            </a:r>
          </a:p>
        </p:txBody>
      </p:sp>
    </p:spTree>
    <p:extLst>
      <p:ext uri="{BB962C8B-B14F-4D97-AF65-F5344CB8AC3E}">
        <p14:creationId xmlns:p14="http://schemas.microsoft.com/office/powerpoint/2010/main" val="3087751522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Tex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EFT" val=" 143.875"/>
  <p:tag name="TOP" val=" 207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Text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Text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Text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Tex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Text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Text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Text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Text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Text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Text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Text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Text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Text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Text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Tex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Text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Text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Text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Text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Text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Text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Text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WmAawCEmkp7WfPMFh7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Text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Tex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</p:tagLst>
</file>

<file path=ppt/theme/theme1.xml><?xml version="1.0" encoding="utf-8"?>
<a:theme xmlns:a="http://schemas.openxmlformats.org/drawingml/2006/main" name="TS103417271">
  <a:themeElements>
    <a:clrScheme name="Banded_Design_Blue">
      <a:dk1>
        <a:srgbClr val="404040"/>
      </a:dk1>
      <a:lt1>
        <a:sysClr val="window" lastClr="FFFFFF"/>
      </a:lt1>
      <a:dk2>
        <a:srgbClr val="263050"/>
      </a:dk2>
      <a:lt2>
        <a:srgbClr val="E5E8E8"/>
      </a:lt2>
      <a:accent1>
        <a:srgbClr val="77B142"/>
      </a:accent1>
      <a:accent2>
        <a:srgbClr val="E3C01E"/>
      </a:accent2>
      <a:accent3>
        <a:srgbClr val="0070C0"/>
      </a:accent3>
      <a:accent4>
        <a:srgbClr val="7556A4"/>
      </a:accent4>
      <a:accent5>
        <a:srgbClr val="F08F1E"/>
      </a:accent5>
      <a:accent6>
        <a:srgbClr val="CB3E3A"/>
      </a:accent6>
      <a:hlink>
        <a:srgbClr val="0070C0"/>
      </a:hlink>
      <a:folHlink>
        <a:srgbClr val="7556A4"/>
      </a:folHlink>
    </a:clrScheme>
    <a:fontScheme name="Module">
      <a:majorFont>
        <a:latin typeface="Corbel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Corbel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57000"/>
                <a:satMod val="101000"/>
              </a:schemeClr>
            </a:gs>
            <a:gs pos="50000">
              <a:schemeClr val="phClr">
                <a:lumMod val="137000"/>
                <a:satMod val="103000"/>
              </a:schemeClr>
            </a:gs>
            <a:gs pos="100000">
              <a:schemeClr val="phClr">
                <a:lumMod val="115000"/>
                <a:satMod val="109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18000"/>
              </a:schemeClr>
            </a:gs>
            <a:gs pos="50000">
              <a:schemeClr val="phClr">
                <a:satMod val="89000"/>
                <a:lumMod val="91000"/>
              </a:schemeClr>
            </a:gs>
            <a:gs pos="100000">
              <a:schemeClr val="phClr">
                <a:lumMod val="69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lumMod val="0"/>
                <a:lumOff val="100000"/>
              </a:schemeClr>
            </a:gs>
            <a:gs pos="72000">
              <a:schemeClr val="phClr"/>
            </a:gs>
            <a:gs pos="100000">
              <a:schemeClr val="phClr">
                <a:lumMod val="90000"/>
              </a:schemeClr>
            </a:gs>
          </a:gsLst>
          <a:lin ang="5400000" scaled="1"/>
        </a:gradFill>
        <a:gradFill flip="none" rotWithShape="1">
          <a:gsLst>
            <a:gs pos="32000">
              <a:schemeClr val="phClr"/>
            </a:gs>
            <a:gs pos="100000">
              <a:schemeClr val="phClr">
                <a:lumMod val="75000"/>
              </a:schemeClr>
            </a:gs>
          </a:gsLst>
          <a:path path="circle">
            <a:fillToRect l="50000" t="50000" r="50000" b="50000"/>
          </a:path>
          <a:tileRect/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Banded_Design_Blue">
    <a:dk1>
      <a:srgbClr val="404040"/>
    </a:dk1>
    <a:lt1>
      <a:sysClr val="window" lastClr="FFFFFF"/>
    </a:lt1>
    <a:dk2>
      <a:srgbClr val="263050"/>
    </a:dk2>
    <a:lt2>
      <a:srgbClr val="E5E8E8"/>
    </a:lt2>
    <a:accent1>
      <a:srgbClr val="77B142"/>
    </a:accent1>
    <a:accent2>
      <a:srgbClr val="E3C01E"/>
    </a:accent2>
    <a:accent3>
      <a:srgbClr val="0070C0"/>
    </a:accent3>
    <a:accent4>
      <a:srgbClr val="7556A4"/>
    </a:accent4>
    <a:accent5>
      <a:srgbClr val="F08F1E"/>
    </a:accent5>
    <a:accent6>
      <a:srgbClr val="CB3E3A"/>
    </a:accent6>
    <a:hlink>
      <a:srgbClr val="0070C0"/>
    </a:hlink>
    <a:folHlink>
      <a:srgbClr val="7556A4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7923</TotalTime>
  <Words>1939</Words>
  <Application>Microsoft Office PowerPoint</Application>
  <PresentationFormat>On-screen Show (4:3)</PresentationFormat>
  <Paragraphs>298</Paragraphs>
  <Slides>48</Slides>
  <Notes>5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48</vt:i4>
      </vt:variant>
    </vt:vector>
  </HeadingPairs>
  <TitlesOfParts>
    <vt:vector size="49" baseType="lpstr">
      <vt:lpstr>TS103417271</vt:lpstr>
      <vt:lpstr>REGIONAL WILDLIFE TRADE TRENDS AND ISSUES Manado, 20th May 2015</vt:lpstr>
      <vt:lpstr>What are we going to do?</vt:lpstr>
      <vt:lpstr>GLOBAL TRENDS</vt:lpstr>
      <vt:lpstr>BROAD GLOBAL TRENDS</vt:lpstr>
      <vt:lpstr>THE RHINO PARADOX</vt:lpstr>
      <vt:lpstr>REGIONAL TRENDS</vt:lpstr>
      <vt:lpstr>Market values ($)</vt:lpstr>
      <vt:lpstr>PowerPoint Presentation</vt:lpstr>
      <vt:lpstr>USA and Europe are critical MARKETS</vt:lpstr>
      <vt:lpstr>BUT IN ASIA, MARKETS ARE TRANSNATIONAL</vt:lpstr>
      <vt:lpstr>….FACILITATED BY ROAD NETWORKS</vt:lpstr>
      <vt:lpstr>AND ARE EVOLVING FROM THIS…</vt:lpstr>
      <vt:lpstr>….TO THIS</vt:lpstr>
      <vt:lpstr>PowerPoint Presentation</vt:lpstr>
      <vt:lpstr>PowerPoint Presentation</vt:lpstr>
      <vt:lpstr>…On an industrial scale</vt:lpstr>
      <vt:lpstr>PowerPoint Presentation</vt:lpstr>
      <vt:lpstr>PowerPoint Presentation</vt:lpstr>
      <vt:lpstr>A modern (illegal) supply chain</vt:lpstr>
      <vt:lpstr>PowerPoint Presentation</vt:lpstr>
      <vt:lpstr>PowerPoint Presentation</vt:lpstr>
      <vt:lpstr>Far reaching impacts</vt:lpstr>
      <vt:lpstr>Indonesian trends and challenges</vt:lpstr>
      <vt:lpstr>PowerPoint Presentation</vt:lpstr>
      <vt:lpstr>PowerPoint Presentation</vt:lpstr>
      <vt:lpstr>Indicators of VOLUME</vt:lpstr>
      <vt:lpstr>Indicators of volume</vt:lpstr>
      <vt:lpstr>CASE Studies - sulawesi</vt:lpstr>
      <vt:lpstr>PowerPoint Presentation</vt:lpstr>
      <vt:lpstr>MARKET values</vt:lpstr>
      <vt:lpstr>Extraction areas </vt:lpstr>
      <vt:lpstr>Trade routes</vt:lpstr>
      <vt:lpstr>Key challenges</vt:lpstr>
      <vt:lpstr>PowerPoint Presentation</vt:lpstr>
      <vt:lpstr>EXAMPLE: Legal Scope - Identified Challenges</vt:lpstr>
      <vt:lpstr>EXAMPLE: Legal Scope - Possible actions</vt:lpstr>
      <vt:lpstr>OTHER IDENTIFIED CHALLENGES </vt:lpstr>
      <vt:lpstr>OTHER IDENTIFIED CHALLENGES </vt:lpstr>
      <vt:lpstr>CRITICAL GAP: Data availability</vt:lpstr>
      <vt:lpstr>PowerPoint Presentation</vt:lpstr>
      <vt:lpstr>SUCCESSFUL APPROACHES </vt:lpstr>
      <vt:lpstr>GLOBAL MOMENTUM</vt:lpstr>
      <vt:lpstr>Opportunities</vt:lpstr>
      <vt:lpstr>Solutions are possible: manta rays</vt:lpstr>
      <vt:lpstr>PowerPoint Presentation</vt:lpstr>
      <vt:lpstr>PowerPoint Presentation</vt:lpstr>
      <vt:lpstr>Thank you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tt</dc:creator>
  <cp:lastModifiedBy>Mike</cp:lastModifiedBy>
  <cp:revision>124</cp:revision>
  <dcterms:created xsi:type="dcterms:W3CDTF">2015-04-14T14:32:38Z</dcterms:created>
  <dcterms:modified xsi:type="dcterms:W3CDTF">2016-03-09T02:12:40Z</dcterms:modified>
</cp:coreProperties>
</file>